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6.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705" r:id="rId6"/>
    <p:sldMasterId id="2147483720" r:id="rId7"/>
    <p:sldMasterId id="2147483757" r:id="rId8"/>
  </p:sldMasterIdLst>
  <p:notesMasterIdLst>
    <p:notesMasterId r:id="rId62"/>
  </p:notesMasterIdLst>
  <p:handoutMasterIdLst>
    <p:handoutMasterId r:id="rId63"/>
  </p:handoutMasterIdLst>
  <p:sldIdLst>
    <p:sldId id="283" r:id="rId9"/>
    <p:sldId id="323" r:id="rId10"/>
    <p:sldId id="324" r:id="rId11"/>
    <p:sldId id="285" r:id="rId12"/>
    <p:sldId id="286" r:id="rId13"/>
    <p:sldId id="287" r:id="rId14"/>
    <p:sldId id="288" r:id="rId15"/>
    <p:sldId id="289" r:id="rId16"/>
    <p:sldId id="330" r:id="rId17"/>
    <p:sldId id="334" r:id="rId18"/>
    <p:sldId id="299" r:id="rId19"/>
    <p:sldId id="336" r:id="rId20"/>
    <p:sldId id="338" r:id="rId21"/>
    <p:sldId id="339" r:id="rId22"/>
    <p:sldId id="301" r:id="rId23"/>
    <p:sldId id="337" r:id="rId24"/>
    <p:sldId id="302" r:id="rId25"/>
    <p:sldId id="303" r:id="rId26"/>
    <p:sldId id="304" r:id="rId27"/>
    <p:sldId id="305" r:id="rId28"/>
    <p:sldId id="306" r:id="rId29"/>
    <p:sldId id="307" r:id="rId30"/>
    <p:sldId id="308" r:id="rId31"/>
    <p:sldId id="309" r:id="rId32"/>
    <p:sldId id="335" r:id="rId33"/>
    <p:sldId id="293" r:id="rId34"/>
    <p:sldId id="294" r:id="rId35"/>
    <p:sldId id="295" r:id="rId36"/>
    <p:sldId id="296" r:id="rId37"/>
    <p:sldId id="297" r:id="rId38"/>
    <p:sldId id="327" r:id="rId39"/>
    <p:sldId id="311" r:id="rId40"/>
    <p:sldId id="312" r:id="rId41"/>
    <p:sldId id="314" r:id="rId42"/>
    <p:sldId id="340" r:id="rId43"/>
    <p:sldId id="341" r:id="rId44"/>
    <p:sldId id="342" r:id="rId45"/>
    <p:sldId id="343" r:id="rId46"/>
    <p:sldId id="315" r:id="rId47"/>
    <p:sldId id="316" r:id="rId48"/>
    <p:sldId id="317" r:id="rId49"/>
    <p:sldId id="318" r:id="rId50"/>
    <p:sldId id="328" r:id="rId51"/>
    <p:sldId id="320" r:id="rId52"/>
    <p:sldId id="332" r:id="rId53"/>
    <p:sldId id="333" r:id="rId54"/>
    <p:sldId id="321" r:id="rId55"/>
    <p:sldId id="322" r:id="rId56"/>
    <p:sldId id="344" r:id="rId57"/>
    <p:sldId id="345" r:id="rId58"/>
    <p:sldId id="346" r:id="rId59"/>
    <p:sldId id="347" r:id="rId60"/>
    <p:sldId id="348"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233"/>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0593" autoAdjust="0"/>
  </p:normalViewPr>
  <p:slideViewPr>
    <p:cSldViewPr snapToGrid="0">
      <p:cViewPr varScale="1">
        <p:scale>
          <a:sx n="92" d="100"/>
          <a:sy n="92" d="100"/>
        </p:scale>
        <p:origin x="792"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handoutMaster" Target="handoutMasters/handoutMaster1.xml"/><Relationship Id="rId68"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y Roberts" userId="b6430d21-8e5e-4d9c-81e9-e1ae515d6d74" providerId="ADAL" clId="{DF062ABE-62FC-426F-B6A6-B59630E569D6}"/>
    <pc:docChg chg="modSld">
      <pc:chgData name="Andy Roberts" userId="b6430d21-8e5e-4d9c-81e9-e1ae515d6d74" providerId="ADAL" clId="{DF062ABE-62FC-426F-B6A6-B59630E569D6}" dt="2017-12-06T16:34:26.049" v="7" actId="20577"/>
      <pc:docMkLst>
        <pc:docMk/>
      </pc:docMkLst>
      <pc:sldChg chg="modSp">
        <pc:chgData name="Andy Roberts" userId="b6430d21-8e5e-4d9c-81e9-e1ae515d6d74" providerId="ADAL" clId="{DF062ABE-62FC-426F-B6A6-B59630E569D6}" dt="2017-12-06T16:32:17.947" v="0" actId="20577"/>
        <pc:sldMkLst>
          <pc:docMk/>
          <pc:sldMk cId="1596498392" sldId="289"/>
        </pc:sldMkLst>
        <pc:spChg chg="mod">
          <ac:chgData name="Andy Roberts" userId="b6430d21-8e5e-4d9c-81e9-e1ae515d6d74" providerId="ADAL" clId="{DF062ABE-62FC-426F-B6A6-B59630E569D6}" dt="2017-12-06T16:32:17.947" v="0" actId="20577"/>
          <ac:spMkLst>
            <pc:docMk/>
            <pc:sldMk cId="1596498392" sldId="289"/>
            <ac:spMk id="8" creationId="{00000000-0000-0000-0000-000000000000}"/>
          </ac:spMkLst>
        </pc:spChg>
      </pc:sldChg>
      <pc:sldChg chg="modSp">
        <pc:chgData name="Andy Roberts" userId="b6430d21-8e5e-4d9c-81e9-e1ae515d6d74" providerId="ADAL" clId="{DF062ABE-62FC-426F-B6A6-B59630E569D6}" dt="2017-12-06T16:34:26.049" v="7" actId="20577"/>
        <pc:sldMkLst>
          <pc:docMk/>
          <pc:sldMk cId="4126405699" sldId="330"/>
        </pc:sldMkLst>
        <pc:spChg chg="mod">
          <ac:chgData name="Andy Roberts" userId="b6430d21-8e5e-4d9c-81e9-e1ae515d6d74" providerId="ADAL" clId="{DF062ABE-62FC-426F-B6A6-B59630E569D6}" dt="2017-12-06T16:34:26.049" v="7" actId="20577"/>
          <ac:spMkLst>
            <pc:docMk/>
            <pc:sldMk cId="4126405699" sldId="330"/>
            <ac:spMk id="331" creationId="{00000000-0000-0000-0000-000000000000}"/>
          </ac:spMkLst>
        </pc:spChg>
      </pc:sldChg>
    </pc:docChg>
  </pc:docChgLst>
  <pc:docChgLst>
    <pc:chgData name="Carla Staeben" userId="870ef43d-5760-4508-a20a-432a8f544527" providerId="ADAL" clId="{49BCDA18-114C-4276-9F32-9131E6366B6C}"/>
    <pc:docChg chg="delSld">
      <pc:chgData name="Carla Staeben" userId="870ef43d-5760-4508-a20a-432a8f544527" providerId="ADAL" clId="{49BCDA18-114C-4276-9F32-9131E6366B6C}" dt="2017-08-04T18:11:14.256" v="2" actId="2696"/>
      <pc:docMkLst>
        <pc:docMk/>
      </pc:docMkLst>
      <pc:sldChg chg="del">
        <pc:chgData name="Carla Staeben" userId="870ef43d-5760-4508-a20a-432a8f544527" providerId="ADAL" clId="{49BCDA18-114C-4276-9F32-9131E6366B6C}" dt="2017-08-04T18:10:56.589" v="0" actId="2696"/>
        <pc:sldMkLst>
          <pc:docMk/>
          <pc:sldMk cId="1665733023" sldId="271"/>
        </pc:sldMkLst>
      </pc:sldChg>
      <pc:sldChg chg="del">
        <pc:chgData name="Carla Staeben" userId="870ef43d-5760-4508-a20a-432a8f544527" providerId="ADAL" clId="{49BCDA18-114C-4276-9F32-9131E6366B6C}" dt="2017-08-04T18:11:14.256" v="2" actId="2696"/>
        <pc:sldMkLst>
          <pc:docMk/>
          <pc:sldMk cId="4238450048" sldId="272"/>
        </pc:sldMkLst>
      </pc:sldChg>
      <pc:sldChg chg="del">
        <pc:chgData name="Carla Staeben" userId="870ef43d-5760-4508-a20a-432a8f544527" providerId="ADAL" clId="{49BCDA18-114C-4276-9F32-9131E6366B6C}" dt="2017-08-04T18:11:00.789" v="1" actId="2696"/>
        <pc:sldMkLst>
          <pc:docMk/>
          <pc:sldMk cId="4178564752" sldId="274"/>
        </pc:sldMkLst>
      </pc:sldChg>
    </pc:docChg>
  </pc:docChgLst>
  <pc:docChgLst>
    <pc:chgData name="Andy Roberts" userId="b6430d21-8e5e-4d9c-81e9-e1ae515d6d74" providerId="ADAL" clId="{356C853E-D027-4183-864D-1C71215F695F}"/>
    <pc:docChg chg="undo custSel addSld delSld modSld sldOrd modMainMaster">
      <pc:chgData name="Andy Roberts" userId="b6430d21-8e5e-4d9c-81e9-e1ae515d6d74" providerId="ADAL" clId="{356C853E-D027-4183-864D-1C71215F695F}" dt="2017-12-05T20:24:34.660" v="668" actId="2696"/>
      <pc:docMkLst>
        <pc:docMk/>
      </pc:docMkLst>
      <pc:sldChg chg="modSp">
        <pc:chgData name="Andy Roberts" userId="b6430d21-8e5e-4d9c-81e9-e1ae515d6d74" providerId="ADAL" clId="{356C853E-D027-4183-864D-1C71215F695F}" dt="2017-12-05T17:46:44.136" v="34" actId="20577"/>
        <pc:sldMkLst>
          <pc:docMk/>
          <pc:sldMk cId="193853358" sldId="283"/>
        </pc:sldMkLst>
        <pc:spChg chg="mod">
          <ac:chgData name="Andy Roberts" userId="b6430d21-8e5e-4d9c-81e9-e1ae515d6d74" providerId="ADAL" clId="{356C853E-D027-4183-864D-1C71215F695F}" dt="2017-12-05T17:46:44.136" v="34" actId="20577"/>
          <ac:spMkLst>
            <pc:docMk/>
            <pc:sldMk cId="193853358" sldId="283"/>
            <ac:spMk id="4" creationId="{00000000-0000-0000-0000-000000000000}"/>
          </ac:spMkLst>
        </pc:spChg>
      </pc:sldChg>
      <pc:sldChg chg="modSp">
        <pc:chgData name="Andy Roberts" userId="b6430d21-8e5e-4d9c-81e9-e1ae515d6d74" providerId="ADAL" clId="{356C853E-D027-4183-864D-1C71215F695F}" dt="2017-12-05T17:51:45.448" v="140" actId="113"/>
        <pc:sldMkLst>
          <pc:docMk/>
          <pc:sldMk cId="2759747328" sldId="287"/>
        </pc:sldMkLst>
        <pc:spChg chg="mod">
          <ac:chgData name="Andy Roberts" userId="b6430d21-8e5e-4d9c-81e9-e1ae515d6d74" providerId="ADAL" clId="{356C853E-D027-4183-864D-1C71215F695F}" dt="2017-12-05T17:51:45.448" v="140" actId="113"/>
          <ac:spMkLst>
            <pc:docMk/>
            <pc:sldMk cId="2759747328" sldId="287"/>
            <ac:spMk id="30" creationId="{00000000-0000-0000-0000-000000000000}"/>
          </ac:spMkLst>
        </pc:spChg>
      </pc:sldChg>
      <pc:sldChg chg="modSp">
        <pc:chgData name="Andy Roberts" userId="b6430d21-8e5e-4d9c-81e9-e1ae515d6d74" providerId="ADAL" clId="{356C853E-D027-4183-864D-1C71215F695F}" dt="2017-12-05T17:59:28.614" v="490" actId="20577"/>
        <pc:sldMkLst>
          <pc:docMk/>
          <pc:sldMk cId="1596498392" sldId="289"/>
        </pc:sldMkLst>
        <pc:spChg chg="mod">
          <ac:chgData name="Andy Roberts" userId="b6430d21-8e5e-4d9c-81e9-e1ae515d6d74" providerId="ADAL" clId="{356C853E-D027-4183-864D-1C71215F695F}" dt="2017-12-05T17:59:28.614" v="490" actId="20577"/>
          <ac:spMkLst>
            <pc:docMk/>
            <pc:sldMk cId="1596498392" sldId="289"/>
            <ac:spMk id="6" creationId="{00000000-0000-0000-0000-000000000000}"/>
          </ac:spMkLst>
        </pc:spChg>
        <pc:spChg chg="mod">
          <ac:chgData name="Andy Roberts" userId="b6430d21-8e5e-4d9c-81e9-e1ae515d6d74" providerId="ADAL" clId="{356C853E-D027-4183-864D-1C71215F695F}" dt="2017-12-05T17:58:12.465" v="467" actId="403"/>
          <ac:spMkLst>
            <pc:docMk/>
            <pc:sldMk cId="1596498392" sldId="289"/>
            <ac:spMk id="8" creationId="{00000000-0000-0000-0000-000000000000}"/>
          </ac:spMkLst>
        </pc:spChg>
      </pc:sldChg>
      <pc:sldChg chg="modSp del">
        <pc:chgData name="Andy Roberts" userId="b6430d21-8e5e-4d9c-81e9-e1ae515d6d74" providerId="ADAL" clId="{356C853E-D027-4183-864D-1C71215F695F}" dt="2017-12-05T18:40:59.627" v="563" actId="2696"/>
        <pc:sldMkLst>
          <pc:docMk/>
          <pc:sldMk cId="758709896" sldId="300"/>
        </pc:sldMkLst>
        <pc:picChg chg="mod">
          <ac:chgData name="Andy Roberts" userId="b6430d21-8e5e-4d9c-81e9-e1ae515d6d74" providerId="ADAL" clId="{356C853E-D027-4183-864D-1C71215F695F}" dt="2017-12-05T18:07:51.332" v="491" actId="1036"/>
          <ac:picMkLst>
            <pc:docMk/>
            <pc:sldMk cId="758709896" sldId="300"/>
            <ac:picMk id="3" creationId="{00000000-0000-0000-0000-000000000000}"/>
          </ac:picMkLst>
        </pc:picChg>
      </pc:sldChg>
      <pc:sldChg chg="modSp ord">
        <pc:chgData name="Andy Roberts" userId="b6430d21-8e5e-4d9c-81e9-e1ae515d6d74" providerId="ADAL" clId="{356C853E-D027-4183-864D-1C71215F695F}" dt="2017-12-05T18:35:37.934" v="544" actId="20577"/>
        <pc:sldMkLst>
          <pc:docMk/>
          <pc:sldMk cId="2447532801" sldId="301"/>
        </pc:sldMkLst>
        <pc:spChg chg="mod">
          <ac:chgData name="Andy Roberts" userId="b6430d21-8e5e-4d9c-81e9-e1ae515d6d74" providerId="ADAL" clId="{356C853E-D027-4183-864D-1C71215F695F}" dt="2017-12-05T18:35:37.934" v="544" actId="20577"/>
          <ac:spMkLst>
            <pc:docMk/>
            <pc:sldMk cId="2447532801" sldId="301"/>
            <ac:spMk id="2" creationId="{00000000-0000-0000-0000-000000000000}"/>
          </ac:spMkLst>
        </pc:spChg>
      </pc:sldChg>
      <pc:sldChg chg="addSp delSp modSp">
        <pc:chgData name="Andy Roberts" userId="b6430d21-8e5e-4d9c-81e9-e1ae515d6d74" providerId="ADAL" clId="{356C853E-D027-4183-864D-1C71215F695F}" dt="2017-12-05T18:45:20.721" v="666" actId="1035"/>
        <pc:sldMkLst>
          <pc:docMk/>
          <pc:sldMk cId="1903712410" sldId="302"/>
        </pc:sldMkLst>
        <pc:spChg chg="add mod">
          <ac:chgData name="Andy Roberts" userId="b6430d21-8e5e-4d9c-81e9-e1ae515d6d74" providerId="ADAL" clId="{356C853E-D027-4183-864D-1C71215F695F}" dt="2017-12-05T18:45:20.721" v="666" actId="1035"/>
          <ac:spMkLst>
            <pc:docMk/>
            <pc:sldMk cId="1903712410" sldId="302"/>
            <ac:spMk id="5" creationId="{F188545D-35B0-4787-8B20-F8CE27110475}"/>
          </ac:spMkLst>
        </pc:spChg>
        <pc:picChg chg="del">
          <ac:chgData name="Andy Roberts" userId="b6430d21-8e5e-4d9c-81e9-e1ae515d6d74" providerId="ADAL" clId="{356C853E-D027-4183-864D-1C71215F695F}" dt="2017-12-05T18:43:44.348" v="564" actId="478"/>
          <ac:picMkLst>
            <pc:docMk/>
            <pc:sldMk cId="1903712410" sldId="302"/>
            <ac:picMk id="2" creationId="{00000000-0000-0000-0000-000000000000}"/>
          </ac:picMkLst>
        </pc:picChg>
        <pc:picChg chg="add mod">
          <ac:chgData name="Andy Roberts" userId="b6430d21-8e5e-4d9c-81e9-e1ae515d6d74" providerId="ADAL" clId="{356C853E-D027-4183-864D-1C71215F695F}" dt="2017-12-05T18:43:47.692" v="566" actId="1076"/>
          <ac:picMkLst>
            <pc:docMk/>
            <pc:sldMk cId="1903712410" sldId="302"/>
            <ac:picMk id="3" creationId="{843F0D72-FEA1-44D8-AFB0-69E3F85340A3}"/>
          </ac:picMkLst>
        </pc:picChg>
      </pc:sldChg>
      <pc:sldChg chg="modSp del">
        <pc:chgData name="Andy Roberts" userId="b6430d21-8e5e-4d9c-81e9-e1ae515d6d74" providerId="ADAL" clId="{356C853E-D027-4183-864D-1C71215F695F}" dt="2017-12-05T17:49:49.177" v="56" actId="2696"/>
        <pc:sldMkLst>
          <pc:docMk/>
          <pc:sldMk cId="132144321" sldId="329"/>
        </pc:sldMkLst>
        <pc:spChg chg="mod">
          <ac:chgData name="Andy Roberts" userId="b6430d21-8e5e-4d9c-81e9-e1ae515d6d74" providerId="ADAL" clId="{356C853E-D027-4183-864D-1C71215F695F}" dt="2017-12-05T17:49:44.429" v="55" actId="5793"/>
          <ac:spMkLst>
            <pc:docMk/>
            <pc:sldMk cId="132144321" sldId="329"/>
            <ac:spMk id="3" creationId="{00000000-0000-0000-0000-000000000000}"/>
          </ac:spMkLst>
        </pc:spChg>
      </pc:sldChg>
      <pc:sldChg chg="del">
        <pc:chgData name="Andy Roberts" userId="b6430d21-8e5e-4d9c-81e9-e1ae515d6d74" providerId="ADAL" clId="{356C853E-D027-4183-864D-1C71215F695F}" dt="2017-12-05T20:24:34.660" v="668" actId="2696"/>
        <pc:sldMkLst>
          <pc:docMk/>
          <pc:sldMk cId="238618026" sldId="331"/>
        </pc:sldMkLst>
      </pc:sldChg>
      <pc:sldChg chg="addSp delSp modSp add setBg">
        <pc:chgData name="Andy Roberts" userId="b6430d21-8e5e-4d9c-81e9-e1ae515d6d74" providerId="ADAL" clId="{356C853E-D027-4183-864D-1C71215F695F}" dt="2017-12-05T18:21:00.691" v="520" actId="2696"/>
        <pc:sldMkLst>
          <pc:docMk/>
          <pc:sldMk cId="3556834676" sldId="336"/>
        </pc:sldMkLst>
        <pc:spChg chg="add del">
          <ac:chgData name="Andy Roberts" userId="b6430d21-8e5e-4d9c-81e9-e1ae515d6d74" providerId="ADAL" clId="{356C853E-D027-4183-864D-1C71215F695F}" dt="2017-12-05T18:19:49.181" v="503" actId="478"/>
          <ac:spMkLst>
            <pc:docMk/>
            <pc:sldMk cId="3556834676" sldId="336"/>
            <ac:spMk id="2" creationId="{B0F80425-F75B-48C2-ADB8-0C0AD9ED5903}"/>
          </ac:spMkLst>
        </pc:spChg>
        <pc:spChg chg="add del">
          <ac:chgData name="Andy Roberts" userId="b6430d21-8e5e-4d9c-81e9-e1ae515d6d74" providerId="ADAL" clId="{356C853E-D027-4183-864D-1C71215F695F}" dt="2017-12-05T18:20:09.924" v="513" actId="478"/>
          <ac:spMkLst>
            <pc:docMk/>
            <pc:sldMk cId="3556834676" sldId="336"/>
            <ac:spMk id="3" creationId="{B4AFD6DE-A484-4CB3-A942-A58DCDBAF47C}"/>
          </ac:spMkLst>
        </pc:spChg>
        <pc:spChg chg="add">
          <ac:chgData name="Andy Roberts" userId="b6430d21-8e5e-4d9c-81e9-e1ae515d6d74" providerId="ADAL" clId="{356C853E-D027-4183-864D-1C71215F695F}" dt="2017-12-05T18:19:09.011" v="493" actId="2696"/>
          <ac:spMkLst>
            <pc:docMk/>
            <pc:sldMk cId="3556834676" sldId="336"/>
            <ac:spMk id="4" creationId="{6C35B4F6-96AD-407F-9ED4-FE80BA1D9C64}"/>
          </ac:spMkLst>
        </pc:spChg>
        <pc:spChg chg="add">
          <ac:chgData name="Andy Roberts" userId="b6430d21-8e5e-4d9c-81e9-e1ae515d6d74" providerId="ADAL" clId="{356C853E-D027-4183-864D-1C71215F695F}" dt="2017-12-05T18:19:09.011" v="493" actId="2696"/>
          <ac:spMkLst>
            <pc:docMk/>
            <pc:sldMk cId="3556834676" sldId="336"/>
            <ac:spMk id="5" creationId="{B686D988-5FFA-423D-BFBF-740335CC68D5}"/>
          </ac:spMkLst>
        </pc:spChg>
        <pc:spChg chg="add">
          <ac:chgData name="Andy Roberts" userId="b6430d21-8e5e-4d9c-81e9-e1ae515d6d74" providerId="ADAL" clId="{356C853E-D027-4183-864D-1C71215F695F}" dt="2017-12-05T18:19:09.011" v="493" actId="2696"/>
          <ac:spMkLst>
            <pc:docMk/>
            <pc:sldMk cId="3556834676" sldId="336"/>
            <ac:spMk id="7" creationId="{18224B81-93D2-450C-9FB5-F7D70C6C2D0B}"/>
          </ac:spMkLst>
        </pc:spChg>
        <pc:spChg chg="add">
          <ac:chgData name="Andy Roberts" userId="b6430d21-8e5e-4d9c-81e9-e1ae515d6d74" providerId="ADAL" clId="{356C853E-D027-4183-864D-1C71215F695F}" dt="2017-12-05T18:19:09.011" v="493" actId="2696"/>
          <ac:spMkLst>
            <pc:docMk/>
            <pc:sldMk cId="3556834676" sldId="336"/>
            <ac:spMk id="8" creationId="{DDDD5926-393E-4D90-B79E-3EC2BC847459}"/>
          </ac:spMkLst>
        </pc:spChg>
        <pc:spChg chg="add">
          <ac:chgData name="Andy Roberts" userId="b6430d21-8e5e-4d9c-81e9-e1ae515d6d74" providerId="ADAL" clId="{356C853E-D027-4183-864D-1C71215F695F}" dt="2017-12-05T18:19:09.011" v="493" actId="2696"/>
          <ac:spMkLst>
            <pc:docMk/>
            <pc:sldMk cId="3556834676" sldId="336"/>
            <ac:spMk id="9" creationId="{A7692951-746E-48FB-8F6F-AF768DAAF0E3}"/>
          </ac:spMkLst>
        </pc:spChg>
        <pc:spChg chg="add">
          <ac:chgData name="Andy Roberts" userId="b6430d21-8e5e-4d9c-81e9-e1ae515d6d74" providerId="ADAL" clId="{356C853E-D027-4183-864D-1C71215F695F}" dt="2017-12-05T18:19:09.011" v="493" actId="2696"/>
          <ac:spMkLst>
            <pc:docMk/>
            <pc:sldMk cId="3556834676" sldId="336"/>
            <ac:spMk id="10" creationId="{83ECCC2A-7403-488E-9BCB-BEDFEFC56F8F}"/>
          </ac:spMkLst>
        </pc:spChg>
        <pc:spChg chg="add">
          <ac:chgData name="Andy Roberts" userId="b6430d21-8e5e-4d9c-81e9-e1ae515d6d74" providerId="ADAL" clId="{356C853E-D027-4183-864D-1C71215F695F}" dt="2017-12-05T18:19:09.011" v="493" actId="2696"/>
          <ac:spMkLst>
            <pc:docMk/>
            <pc:sldMk cId="3556834676" sldId="336"/>
            <ac:spMk id="11" creationId="{EF9CAAE9-4C22-4E3E-A762-6B060BCEFF46}"/>
          </ac:spMkLst>
        </pc:spChg>
        <pc:spChg chg="add">
          <ac:chgData name="Andy Roberts" userId="b6430d21-8e5e-4d9c-81e9-e1ae515d6d74" providerId="ADAL" clId="{356C853E-D027-4183-864D-1C71215F695F}" dt="2017-12-05T18:19:09.011" v="493" actId="2696"/>
          <ac:spMkLst>
            <pc:docMk/>
            <pc:sldMk cId="3556834676" sldId="336"/>
            <ac:spMk id="12" creationId="{1B51C01C-1366-4B18-93D7-D206D80335FB}"/>
          </ac:spMkLst>
        </pc:spChg>
        <pc:spChg chg="add">
          <ac:chgData name="Andy Roberts" userId="b6430d21-8e5e-4d9c-81e9-e1ae515d6d74" providerId="ADAL" clId="{356C853E-D027-4183-864D-1C71215F695F}" dt="2017-12-05T18:19:09.011" v="493" actId="2696"/>
          <ac:spMkLst>
            <pc:docMk/>
            <pc:sldMk cId="3556834676" sldId="336"/>
            <ac:spMk id="13" creationId="{20C58F73-3B12-46DD-BC29-B33017BB48CD}"/>
          </ac:spMkLst>
        </pc:spChg>
        <pc:spChg chg="add">
          <ac:chgData name="Andy Roberts" userId="b6430d21-8e5e-4d9c-81e9-e1ae515d6d74" providerId="ADAL" clId="{356C853E-D027-4183-864D-1C71215F695F}" dt="2017-12-05T18:19:09.011" v="493" actId="2696"/>
          <ac:spMkLst>
            <pc:docMk/>
            <pc:sldMk cId="3556834676" sldId="336"/>
            <ac:spMk id="14" creationId="{6AD4D429-AFB9-4B48-9E13-FA39AAD98CE4}"/>
          </ac:spMkLst>
        </pc:spChg>
        <pc:spChg chg="add">
          <ac:chgData name="Andy Roberts" userId="b6430d21-8e5e-4d9c-81e9-e1ae515d6d74" providerId="ADAL" clId="{356C853E-D027-4183-864D-1C71215F695F}" dt="2017-12-05T18:19:09.011" v="493" actId="2696"/>
          <ac:spMkLst>
            <pc:docMk/>
            <pc:sldMk cId="3556834676" sldId="336"/>
            <ac:spMk id="15" creationId="{700E9F43-AAA4-487E-B8CE-739E8A7B31DD}"/>
          </ac:spMkLst>
        </pc:spChg>
        <pc:spChg chg="add">
          <ac:chgData name="Andy Roberts" userId="b6430d21-8e5e-4d9c-81e9-e1ae515d6d74" providerId="ADAL" clId="{356C853E-D027-4183-864D-1C71215F695F}" dt="2017-12-05T18:19:09.011" v="493" actId="2696"/>
          <ac:spMkLst>
            <pc:docMk/>
            <pc:sldMk cId="3556834676" sldId="336"/>
            <ac:spMk id="16" creationId="{F48CB2A0-2248-4372-A2B5-4585558BF7FD}"/>
          </ac:spMkLst>
        </pc:spChg>
        <pc:spChg chg="add">
          <ac:chgData name="Andy Roberts" userId="b6430d21-8e5e-4d9c-81e9-e1ae515d6d74" providerId="ADAL" clId="{356C853E-D027-4183-864D-1C71215F695F}" dt="2017-12-05T18:19:09.011" v="493" actId="2696"/>
          <ac:spMkLst>
            <pc:docMk/>
            <pc:sldMk cId="3556834676" sldId="336"/>
            <ac:spMk id="20" creationId="{93321075-BEB6-47D8-8A55-B493A5BD659F}"/>
          </ac:spMkLst>
        </pc:spChg>
        <pc:spChg chg="add">
          <ac:chgData name="Andy Roberts" userId="b6430d21-8e5e-4d9c-81e9-e1ae515d6d74" providerId="ADAL" clId="{356C853E-D027-4183-864D-1C71215F695F}" dt="2017-12-05T18:19:09.011" v="493" actId="2696"/>
          <ac:spMkLst>
            <pc:docMk/>
            <pc:sldMk cId="3556834676" sldId="336"/>
            <ac:spMk id="21" creationId="{9DCD8F72-325D-4646-B0B5-9F4587694FD5}"/>
          </ac:spMkLst>
        </pc:spChg>
        <pc:spChg chg="add">
          <ac:chgData name="Andy Roberts" userId="b6430d21-8e5e-4d9c-81e9-e1ae515d6d74" providerId="ADAL" clId="{356C853E-D027-4183-864D-1C71215F695F}" dt="2017-12-05T18:19:09.011" v="493" actId="2696"/>
          <ac:spMkLst>
            <pc:docMk/>
            <pc:sldMk cId="3556834676" sldId="336"/>
            <ac:spMk id="22" creationId="{2F5BDC89-E460-48EA-AB42-8898CCE9F0CB}"/>
          </ac:spMkLst>
        </pc:spChg>
        <pc:spChg chg="add">
          <ac:chgData name="Andy Roberts" userId="b6430d21-8e5e-4d9c-81e9-e1ae515d6d74" providerId="ADAL" clId="{356C853E-D027-4183-864D-1C71215F695F}" dt="2017-12-05T18:19:09.011" v="493" actId="2696"/>
          <ac:spMkLst>
            <pc:docMk/>
            <pc:sldMk cId="3556834676" sldId="336"/>
            <ac:spMk id="23" creationId="{2359EDE9-A2EC-438A-8DD8-7612FC94C1AC}"/>
          </ac:spMkLst>
        </pc:spChg>
        <pc:spChg chg="add">
          <ac:chgData name="Andy Roberts" userId="b6430d21-8e5e-4d9c-81e9-e1ae515d6d74" providerId="ADAL" clId="{356C853E-D027-4183-864D-1C71215F695F}" dt="2017-12-05T18:19:09.011" v="493" actId="2696"/>
          <ac:spMkLst>
            <pc:docMk/>
            <pc:sldMk cId="3556834676" sldId="336"/>
            <ac:spMk id="24" creationId="{8B01729E-285C-488A-8F05-C60C9E9428C2}"/>
          </ac:spMkLst>
        </pc:spChg>
        <pc:spChg chg="add">
          <ac:chgData name="Andy Roberts" userId="b6430d21-8e5e-4d9c-81e9-e1ae515d6d74" providerId="ADAL" clId="{356C853E-D027-4183-864D-1C71215F695F}" dt="2017-12-05T18:19:09.011" v="493" actId="2696"/>
          <ac:spMkLst>
            <pc:docMk/>
            <pc:sldMk cId="3556834676" sldId="336"/>
            <ac:spMk id="25" creationId="{0D3C8F75-C0C6-46A7-BCAF-F273816BBB7E}"/>
          </ac:spMkLst>
        </pc:spChg>
        <pc:spChg chg="add">
          <ac:chgData name="Andy Roberts" userId="b6430d21-8e5e-4d9c-81e9-e1ae515d6d74" providerId="ADAL" clId="{356C853E-D027-4183-864D-1C71215F695F}" dt="2017-12-05T18:19:09.011" v="493" actId="2696"/>
          <ac:spMkLst>
            <pc:docMk/>
            <pc:sldMk cId="3556834676" sldId="336"/>
            <ac:spMk id="26" creationId="{587989CD-2066-4169-973A-92EE8A3DD9A7}"/>
          </ac:spMkLst>
        </pc:spChg>
        <pc:spChg chg="add">
          <ac:chgData name="Andy Roberts" userId="b6430d21-8e5e-4d9c-81e9-e1ae515d6d74" providerId="ADAL" clId="{356C853E-D027-4183-864D-1C71215F695F}" dt="2017-12-05T18:19:09.011" v="493" actId="2696"/>
          <ac:spMkLst>
            <pc:docMk/>
            <pc:sldMk cId="3556834676" sldId="336"/>
            <ac:spMk id="27" creationId="{E5AB8A59-6B15-48F5-9C32-B87464DD4770}"/>
          </ac:spMkLst>
        </pc:spChg>
        <pc:spChg chg="add">
          <ac:chgData name="Andy Roberts" userId="b6430d21-8e5e-4d9c-81e9-e1ae515d6d74" providerId="ADAL" clId="{356C853E-D027-4183-864D-1C71215F695F}" dt="2017-12-05T18:19:09.011" v="493" actId="2696"/>
          <ac:spMkLst>
            <pc:docMk/>
            <pc:sldMk cId="3556834676" sldId="336"/>
            <ac:spMk id="28" creationId="{ED608E92-307F-4EA1-A72A-5A8D18C47844}"/>
          </ac:spMkLst>
        </pc:spChg>
        <pc:spChg chg="add">
          <ac:chgData name="Andy Roberts" userId="b6430d21-8e5e-4d9c-81e9-e1ae515d6d74" providerId="ADAL" clId="{356C853E-D027-4183-864D-1C71215F695F}" dt="2017-12-05T18:19:09.011" v="493" actId="2696"/>
          <ac:spMkLst>
            <pc:docMk/>
            <pc:sldMk cId="3556834676" sldId="336"/>
            <ac:spMk id="29" creationId="{F092A1CC-2399-4656-BEC8-E877055D808F}"/>
          </ac:spMkLst>
        </pc:spChg>
        <pc:spChg chg="add">
          <ac:chgData name="Andy Roberts" userId="b6430d21-8e5e-4d9c-81e9-e1ae515d6d74" providerId="ADAL" clId="{356C853E-D027-4183-864D-1C71215F695F}" dt="2017-12-05T18:19:09.011" v="493" actId="2696"/>
          <ac:spMkLst>
            <pc:docMk/>
            <pc:sldMk cId="3556834676" sldId="336"/>
            <ac:spMk id="35" creationId="{BE53225C-376A-4A18-A0A7-585AB45F69A4}"/>
          </ac:spMkLst>
        </pc:spChg>
        <pc:spChg chg="add">
          <ac:chgData name="Andy Roberts" userId="b6430d21-8e5e-4d9c-81e9-e1ae515d6d74" providerId="ADAL" clId="{356C853E-D027-4183-864D-1C71215F695F}" dt="2017-12-05T18:19:09.011" v="493" actId="2696"/>
          <ac:spMkLst>
            <pc:docMk/>
            <pc:sldMk cId="3556834676" sldId="336"/>
            <ac:spMk id="36" creationId="{F0AE4B68-1E94-4BBC-B3A0-6916C645DCAD}"/>
          </ac:spMkLst>
        </pc:spChg>
        <pc:spChg chg="add">
          <ac:chgData name="Andy Roberts" userId="b6430d21-8e5e-4d9c-81e9-e1ae515d6d74" providerId="ADAL" clId="{356C853E-D027-4183-864D-1C71215F695F}" dt="2017-12-05T18:19:09.011" v="493" actId="2696"/>
          <ac:spMkLst>
            <pc:docMk/>
            <pc:sldMk cId="3556834676" sldId="336"/>
            <ac:spMk id="38" creationId="{0EC88A79-D665-4E8D-820B-943C63955BA6}"/>
          </ac:spMkLst>
        </pc:spChg>
        <pc:spChg chg="add">
          <ac:chgData name="Andy Roberts" userId="b6430d21-8e5e-4d9c-81e9-e1ae515d6d74" providerId="ADAL" clId="{356C853E-D027-4183-864D-1C71215F695F}" dt="2017-12-05T18:19:09.011" v="493" actId="2696"/>
          <ac:spMkLst>
            <pc:docMk/>
            <pc:sldMk cId="3556834676" sldId="336"/>
            <ac:spMk id="49" creationId="{E4E94BFA-9022-4173-A2DB-3907D226BDE7}"/>
          </ac:spMkLst>
        </pc:spChg>
        <pc:spChg chg="add">
          <ac:chgData name="Andy Roberts" userId="b6430d21-8e5e-4d9c-81e9-e1ae515d6d74" providerId="ADAL" clId="{356C853E-D027-4183-864D-1C71215F695F}" dt="2017-12-05T18:19:09.011" v="493" actId="2696"/>
          <ac:spMkLst>
            <pc:docMk/>
            <pc:sldMk cId="3556834676" sldId="336"/>
            <ac:spMk id="50" creationId="{716AA5EC-383E-466C-B53A-24B478E00566}"/>
          </ac:spMkLst>
        </pc:spChg>
        <pc:spChg chg="add">
          <ac:chgData name="Andy Roberts" userId="b6430d21-8e5e-4d9c-81e9-e1ae515d6d74" providerId="ADAL" clId="{356C853E-D027-4183-864D-1C71215F695F}" dt="2017-12-05T18:19:09.011" v="493" actId="2696"/>
          <ac:spMkLst>
            <pc:docMk/>
            <pc:sldMk cId="3556834676" sldId="336"/>
            <ac:spMk id="51" creationId="{FDA94A28-2B10-462A-A4B7-C17F7564ECBD}"/>
          </ac:spMkLst>
        </pc:spChg>
        <pc:spChg chg="add">
          <ac:chgData name="Andy Roberts" userId="b6430d21-8e5e-4d9c-81e9-e1ae515d6d74" providerId="ADAL" clId="{356C853E-D027-4183-864D-1C71215F695F}" dt="2017-12-05T18:19:09.011" v="493" actId="2696"/>
          <ac:spMkLst>
            <pc:docMk/>
            <pc:sldMk cId="3556834676" sldId="336"/>
            <ac:spMk id="52" creationId="{A6F6276C-18AC-413B-9269-0016A2ED8729}"/>
          </ac:spMkLst>
        </pc:spChg>
        <pc:spChg chg="add">
          <ac:chgData name="Andy Roberts" userId="b6430d21-8e5e-4d9c-81e9-e1ae515d6d74" providerId="ADAL" clId="{356C853E-D027-4183-864D-1C71215F695F}" dt="2017-12-05T18:19:09.011" v="493" actId="2696"/>
          <ac:spMkLst>
            <pc:docMk/>
            <pc:sldMk cId="3556834676" sldId="336"/>
            <ac:spMk id="53" creationId="{184C30E0-D6C8-43A3-8E4C-4661B903E89F}"/>
          </ac:spMkLst>
        </pc:spChg>
        <pc:spChg chg="add">
          <ac:chgData name="Andy Roberts" userId="b6430d21-8e5e-4d9c-81e9-e1ae515d6d74" providerId="ADAL" clId="{356C853E-D027-4183-864D-1C71215F695F}" dt="2017-12-05T18:19:09.011" v="493" actId="2696"/>
          <ac:spMkLst>
            <pc:docMk/>
            <pc:sldMk cId="3556834676" sldId="336"/>
            <ac:spMk id="54" creationId="{4BBD3791-8653-4DEB-9002-6A43ACD276E9}"/>
          </ac:spMkLst>
        </pc:spChg>
        <pc:spChg chg="add">
          <ac:chgData name="Andy Roberts" userId="b6430d21-8e5e-4d9c-81e9-e1ae515d6d74" providerId="ADAL" clId="{356C853E-D027-4183-864D-1C71215F695F}" dt="2017-12-05T18:19:09.011" v="493" actId="2696"/>
          <ac:spMkLst>
            <pc:docMk/>
            <pc:sldMk cId="3556834676" sldId="336"/>
            <ac:spMk id="55" creationId="{C8BB6E81-0259-4A90-8E23-06376540FBD5}"/>
          </ac:spMkLst>
        </pc:spChg>
        <pc:spChg chg="add">
          <ac:chgData name="Andy Roberts" userId="b6430d21-8e5e-4d9c-81e9-e1ae515d6d74" providerId="ADAL" clId="{356C853E-D027-4183-864D-1C71215F695F}" dt="2017-12-05T18:19:09.011" v="493" actId="2696"/>
          <ac:spMkLst>
            <pc:docMk/>
            <pc:sldMk cId="3556834676" sldId="336"/>
            <ac:spMk id="56" creationId="{D8432C93-5393-44F2-89FE-18D1C8AC49E6}"/>
          </ac:spMkLst>
        </pc:spChg>
        <pc:spChg chg="add">
          <ac:chgData name="Andy Roberts" userId="b6430d21-8e5e-4d9c-81e9-e1ae515d6d74" providerId="ADAL" clId="{356C853E-D027-4183-864D-1C71215F695F}" dt="2017-12-05T18:19:09.011" v="493" actId="2696"/>
          <ac:spMkLst>
            <pc:docMk/>
            <pc:sldMk cId="3556834676" sldId="336"/>
            <ac:spMk id="57" creationId="{74B4EA5E-939D-4B63-A906-3BFB9999E463}"/>
          </ac:spMkLst>
        </pc:spChg>
        <pc:spChg chg="add">
          <ac:chgData name="Andy Roberts" userId="b6430d21-8e5e-4d9c-81e9-e1ae515d6d74" providerId="ADAL" clId="{356C853E-D027-4183-864D-1C71215F695F}" dt="2017-12-05T18:19:09.011" v="493" actId="2696"/>
          <ac:spMkLst>
            <pc:docMk/>
            <pc:sldMk cId="3556834676" sldId="336"/>
            <ac:spMk id="58" creationId="{2A113380-E788-4E12-9115-4BDB37147292}"/>
          </ac:spMkLst>
        </pc:spChg>
        <pc:spChg chg="add">
          <ac:chgData name="Andy Roberts" userId="b6430d21-8e5e-4d9c-81e9-e1ae515d6d74" providerId="ADAL" clId="{356C853E-D027-4183-864D-1C71215F695F}" dt="2017-12-05T18:19:09.011" v="493" actId="2696"/>
          <ac:spMkLst>
            <pc:docMk/>
            <pc:sldMk cId="3556834676" sldId="336"/>
            <ac:spMk id="59" creationId="{103545C7-9113-44F9-AE9E-AEBE726E6866}"/>
          </ac:spMkLst>
        </pc:spChg>
        <pc:spChg chg="add">
          <ac:chgData name="Andy Roberts" userId="b6430d21-8e5e-4d9c-81e9-e1ae515d6d74" providerId="ADAL" clId="{356C853E-D027-4183-864D-1C71215F695F}" dt="2017-12-05T18:19:09.011" v="493" actId="2696"/>
          <ac:spMkLst>
            <pc:docMk/>
            <pc:sldMk cId="3556834676" sldId="336"/>
            <ac:spMk id="60" creationId="{43E53CD6-2F81-41B9-A053-75641AFAE741}"/>
          </ac:spMkLst>
        </pc:spChg>
        <pc:spChg chg="add">
          <ac:chgData name="Andy Roberts" userId="b6430d21-8e5e-4d9c-81e9-e1ae515d6d74" providerId="ADAL" clId="{356C853E-D027-4183-864D-1C71215F695F}" dt="2017-12-05T18:19:09.011" v="493" actId="2696"/>
          <ac:spMkLst>
            <pc:docMk/>
            <pc:sldMk cId="3556834676" sldId="336"/>
            <ac:spMk id="61" creationId="{7EE4FEB2-A868-49B0-887F-934D6159C695}"/>
          </ac:spMkLst>
        </pc:spChg>
        <pc:spChg chg="add">
          <ac:chgData name="Andy Roberts" userId="b6430d21-8e5e-4d9c-81e9-e1ae515d6d74" providerId="ADAL" clId="{356C853E-D027-4183-864D-1C71215F695F}" dt="2017-12-05T18:19:09.011" v="493" actId="2696"/>
          <ac:spMkLst>
            <pc:docMk/>
            <pc:sldMk cId="3556834676" sldId="336"/>
            <ac:spMk id="62" creationId="{650D4AAA-8974-4FCF-81B7-9FB705C35DD9}"/>
          </ac:spMkLst>
        </pc:spChg>
        <pc:spChg chg="add">
          <ac:chgData name="Andy Roberts" userId="b6430d21-8e5e-4d9c-81e9-e1ae515d6d74" providerId="ADAL" clId="{356C853E-D027-4183-864D-1C71215F695F}" dt="2017-12-05T18:19:09.011" v="493" actId="2696"/>
          <ac:spMkLst>
            <pc:docMk/>
            <pc:sldMk cId="3556834676" sldId="336"/>
            <ac:spMk id="63" creationId="{3150AF62-4EB9-4A9A-8931-FB19B4731F2C}"/>
          </ac:spMkLst>
        </pc:spChg>
        <pc:spChg chg="add">
          <ac:chgData name="Andy Roberts" userId="b6430d21-8e5e-4d9c-81e9-e1ae515d6d74" providerId="ADAL" clId="{356C853E-D027-4183-864D-1C71215F695F}" dt="2017-12-05T18:19:09.011" v="493" actId="2696"/>
          <ac:spMkLst>
            <pc:docMk/>
            <pc:sldMk cId="3556834676" sldId="336"/>
            <ac:spMk id="64" creationId="{1FE044EE-D7C5-4F88-BE97-5BAAB4B3E6F9}"/>
          </ac:spMkLst>
        </pc:spChg>
        <pc:spChg chg="add">
          <ac:chgData name="Andy Roberts" userId="b6430d21-8e5e-4d9c-81e9-e1ae515d6d74" providerId="ADAL" clId="{356C853E-D027-4183-864D-1C71215F695F}" dt="2017-12-05T18:19:09.011" v="493" actId="2696"/>
          <ac:spMkLst>
            <pc:docMk/>
            <pc:sldMk cId="3556834676" sldId="336"/>
            <ac:spMk id="65" creationId="{A3C8C7EC-9E2C-483D-AA38-71C0042AD970}"/>
          </ac:spMkLst>
        </pc:spChg>
        <pc:spChg chg="add">
          <ac:chgData name="Andy Roberts" userId="b6430d21-8e5e-4d9c-81e9-e1ae515d6d74" providerId="ADAL" clId="{356C853E-D027-4183-864D-1C71215F695F}" dt="2017-12-05T18:19:09.011" v="493" actId="2696"/>
          <ac:spMkLst>
            <pc:docMk/>
            <pc:sldMk cId="3556834676" sldId="336"/>
            <ac:spMk id="66" creationId="{BB38903B-A350-4843-A21E-934D71166229}"/>
          </ac:spMkLst>
        </pc:spChg>
        <pc:spChg chg="add">
          <ac:chgData name="Andy Roberts" userId="b6430d21-8e5e-4d9c-81e9-e1ae515d6d74" providerId="ADAL" clId="{356C853E-D027-4183-864D-1C71215F695F}" dt="2017-12-05T18:19:09.011" v="493" actId="2696"/>
          <ac:spMkLst>
            <pc:docMk/>
            <pc:sldMk cId="3556834676" sldId="336"/>
            <ac:spMk id="67" creationId="{7468F515-0D2C-4BA7-B770-B91B0BAAE9CB}"/>
          </ac:spMkLst>
        </pc:spChg>
        <pc:spChg chg="add">
          <ac:chgData name="Andy Roberts" userId="b6430d21-8e5e-4d9c-81e9-e1ae515d6d74" providerId="ADAL" clId="{356C853E-D027-4183-864D-1C71215F695F}" dt="2017-12-05T18:19:09.011" v="493" actId="2696"/>
          <ac:spMkLst>
            <pc:docMk/>
            <pc:sldMk cId="3556834676" sldId="336"/>
            <ac:spMk id="68" creationId="{4989860C-F89B-4C04-B4B0-06CAE387E04B}"/>
          </ac:spMkLst>
        </pc:spChg>
        <pc:spChg chg="add">
          <ac:chgData name="Andy Roberts" userId="b6430d21-8e5e-4d9c-81e9-e1ae515d6d74" providerId="ADAL" clId="{356C853E-D027-4183-864D-1C71215F695F}" dt="2017-12-05T18:19:09.011" v="493" actId="2696"/>
          <ac:spMkLst>
            <pc:docMk/>
            <pc:sldMk cId="3556834676" sldId="336"/>
            <ac:spMk id="69" creationId="{C445FB8B-FF74-4F40-A0CF-A9AABEBA52F4}"/>
          </ac:spMkLst>
        </pc:spChg>
        <pc:spChg chg="add">
          <ac:chgData name="Andy Roberts" userId="b6430d21-8e5e-4d9c-81e9-e1ae515d6d74" providerId="ADAL" clId="{356C853E-D027-4183-864D-1C71215F695F}" dt="2017-12-05T18:19:09.011" v="493" actId="2696"/>
          <ac:spMkLst>
            <pc:docMk/>
            <pc:sldMk cId="3556834676" sldId="336"/>
            <ac:spMk id="70" creationId="{5D65E34F-F0CB-4056-8EC2-F2A12DA70D07}"/>
          </ac:spMkLst>
        </pc:spChg>
        <pc:spChg chg="add">
          <ac:chgData name="Andy Roberts" userId="b6430d21-8e5e-4d9c-81e9-e1ae515d6d74" providerId="ADAL" clId="{356C853E-D027-4183-864D-1C71215F695F}" dt="2017-12-05T18:19:09.011" v="493" actId="2696"/>
          <ac:spMkLst>
            <pc:docMk/>
            <pc:sldMk cId="3556834676" sldId="336"/>
            <ac:spMk id="71" creationId="{D7E84DD2-14AC-44F3-901B-E73D78B0619A}"/>
          </ac:spMkLst>
        </pc:spChg>
        <pc:spChg chg="add">
          <ac:chgData name="Andy Roberts" userId="b6430d21-8e5e-4d9c-81e9-e1ae515d6d74" providerId="ADAL" clId="{356C853E-D027-4183-864D-1C71215F695F}" dt="2017-12-05T18:19:09.011" v="493" actId="2696"/>
          <ac:spMkLst>
            <pc:docMk/>
            <pc:sldMk cId="3556834676" sldId="336"/>
            <ac:spMk id="72" creationId="{36998188-C687-4917-8D46-315EC1B6D0DC}"/>
          </ac:spMkLst>
        </pc:spChg>
        <pc:spChg chg="add">
          <ac:chgData name="Andy Roberts" userId="b6430d21-8e5e-4d9c-81e9-e1ae515d6d74" providerId="ADAL" clId="{356C853E-D027-4183-864D-1C71215F695F}" dt="2017-12-05T18:19:09.011" v="493" actId="2696"/>
          <ac:spMkLst>
            <pc:docMk/>
            <pc:sldMk cId="3556834676" sldId="336"/>
            <ac:spMk id="73" creationId="{C62F4413-151D-4EE4-B3E1-729C2A8A147D}"/>
          </ac:spMkLst>
        </pc:spChg>
        <pc:spChg chg="add">
          <ac:chgData name="Andy Roberts" userId="b6430d21-8e5e-4d9c-81e9-e1ae515d6d74" providerId="ADAL" clId="{356C853E-D027-4183-864D-1C71215F695F}" dt="2017-12-05T18:19:09.011" v="493" actId="2696"/>
          <ac:spMkLst>
            <pc:docMk/>
            <pc:sldMk cId="3556834676" sldId="336"/>
            <ac:spMk id="74" creationId="{F3511110-CDBB-4DD8-A4DD-5F4C6DEA9D57}"/>
          </ac:spMkLst>
        </pc:spChg>
        <pc:spChg chg="add">
          <ac:chgData name="Andy Roberts" userId="b6430d21-8e5e-4d9c-81e9-e1ae515d6d74" providerId="ADAL" clId="{356C853E-D027-4183-864D-1C71215F695F}" dt="2017-12-05T18:19:09.011" v="493" actId="2696"/>
          <ac:spMkLst>
            <pc:docMk/>
            <pc:sldMk cId="3556834676" sldId="336"/>
            <ac:spMk id="75" creationId="{2756EA85-0753-44A5-9808-BDD565D1E5F5}"/>
          </ac:spMkLst>
        </pc:spChg>
        <pc:spChg chg="add">
          <ac:chgData name="Andy Roberts" userId="b6430d21-8e5e-4d9c-81e9-e1ae515d6d74" providerId="ADAL" clId="{356C853E-D027-4183-864D-1C71215F695F}" dt="2017-12-05T18:19:09.011" v="493" actId="2696"/>
          <ac:spMkLst>
            <pc:docMk/>
            <pc:sldMk cId="3556834676" sldId="336"/>
            <ac:spMk id="76" creationId="{23174FAE-22C1-4687-AC9C-A1F378A6D450}"/>
          </ac:spMkLst>
        </pc:spChg>
        <pc:spChg chg="add">
          <ac:chgData name="Andy Roberts" userId="b6430d21-8e5e-4d9c-81e9-e1ae515d6d74" providerId="ADAL" clId="{356C853E-D027-4183-864D-1C71215F695F}" dt="2017-12-05T18:19:09.011" v="493" actId="2696"/>
          <ac:spMkLst>
            <pc:docMk/>
            <pc:sldMk cId="3556834676" sldId="336"/>
            <ac:spMk id="77" creationId="{48C1230F-9994-43D7-A2F6-421452EC5013}"/>
          </ac:spMkLst>
        </pc:spChg>
        <pc:spChg chg="add">
          <ac:chgData name="Andy Roberts" userId="b6430d21-8e5e-4d9c-81e9-e1ae515d6d74" providerId="ADAL" clId="{356C853E-D027-4183-864D-1C71215F695F}" dt="2017-12-05T18:19:09.011" v="493" actId="2696"/>
          <ac:spMkLst>
            <pc:docMk/>
            <pc:sldMk cId="3556834676" sldId="336"/>
            <ac:spMk id="78" creationId="{E5642198-16C7-4D16-93A9-B660DC1656E0}"/>
          </ac:spMkLst>
        </pc:spChg>
        <pc:spChg chg="add">
          <ac:chgData name="Andy Roberts" userId="b6430d21-8e5e-4d9c-81e9-e1ae515d6d74" providerId="ADAL" clId="{356C853E-D027-4183-864D-1C71215F695F}" dt="2017-12-05T18:19:09.011" v="493" actId="2696"/>
          <ac:spMkLst>
            <pc:docMk/>
            <pc:sldMk cId="3556834676" sldId="336"/>
            <ac:spMk id="79" creationId="{E6B59925-7E65-42C2-A31A-4BE5E57925B3}"/>
          </ac:spMkLst>
        </pc:spChg>
        <pc:spChg chg="add">
          <ac:chgData name="Andy Roberts" userId="b6430d21-8e5e-4d9c-81e9-e1ae515d6d74" providerId="ADAL" clId="{356C853E-D027-4183-864D-1C71215F695F}" dt="2017-12-05T18:19:09.011" v="493" actId="2696"/>
          <ac:spMkLst>
            <pc:docMk/>
            <pc:sldMk cId="3556834676" sldId="336"/>
            <ac:spMk id="80" creationId="{BB0DD6F0-76CB-4BC4-8270-0D3955BEFEDA}"/>
          </ac:spMkLst>
        </pc:spChg>
        <pc:spChg chg="add">
          <ac:chgData name="Andy Roberts" userId="b6430d21-8e5e-4d9c-81e9-e1ae515d6d74" providerId="ADAL" clId="{356C853E-D027-4183-864D-1C71215F695F}" dt="2017-12-05T18:19:09.011" v="493" actId="2696"/>
          <ac:spMkLst>
            <pc:docMk/>
            <pc:sldMk cId="3556834676" sldId="336"/>
            <ac:spMk id="81" creationId="{BC72A887-EE5A-4270-AB25-4773F74D2E88}"/>
          </ac:spMkLst>
        </pc:spChg>
        <pc:spChg chg="add">
          <ac:chgData name="Andy Roberts" userId="b6430d21-8e5e-4d9c-81e9-e1ae515d6d74" providerId="ADAL" clId="{356C853E-D027-4183-864D-1C71215F695F}" dt="2017-12-05T18:19:09.011" v="493" actId="2696"/>
          <ac:spMkLst>
            <pc:docMk/>
            <pc:sldMk cId="3556834676" sldId="336"/>
            <ac:spMk id="82" creationId="{8A058C46-07AB-4BEA-9D65-F7FCC377F876}"/>
          </ac:spMkLst>
        </pc:spChg>
        <pc:spChg chg="add">
          <ac:chgData name="Andy Roberts" userId="b6430d21-8e5e-4d9c-81e9-e1ae515d6d74" providerId="ADAL" clId="{356C853E-D027-4183-864D-1C71215F695F}" dt="2017-12-05T18:19:09.011" v="493" actId="2696"/>
          <ac:spMkLst>
            <pc:docMk/>
            <pc:sldMk cId="3556834676" sldId="336"/>
            <ac:spMk id="83" creationId="{7D943320-2A5F-4A9F-A2C7-7FA58E1D040D}"/>
          </ac:spMkLst>
        </pc:spChg>
        <pc:spChg chg="add">
          <ac:chgData name="Andy Roberts" userId="b6430d21-8e5e-4d9c-81e9-e1ae515d6d74" providerId="ADAL" clId="{356C853E-D027-4183-864D-1C71215F695F}" dt="2017-12-05T18:19:09.011" v="493" actId="2696"/>
          <ac:spMkLst>
            <pc:docMk/>
            <pc:sldMk cId="3556834676" sldId="336"/>
            <ac:spMk id="84" creationId="{85F36A8E-DBFC-4B63-99EB-098DC530BCDE}"/>
          </ac:spMkLst>
        </pc:spChg>
        <pc:spChg chg="add">
          <ac:chgData name="Andy Roberts" userId="b6430d21-8e5e-4d9c-81e9-e1ae515d6d74" providerId="ADAL" clId="{356C853E-D027-4183-864D-1C71215F695F}" dt="2017-12-05T18:19:09.011" v="493" actId="2696"/>
          <ac:spMkLst>
            <pc:docMk/>
            <pc:sldMk cId="3556834676" sldId="336"/>
            <ac:spMk id="85" creationId="{153A49F0-6D95-4E46-AFBA-96E7A3AEE42E}"/>
          </ac:spMkLst>
        </pc:spChg>
        <pc:spChg chg="add">
          <ac:chgData name="Andy Roberts" userId="b6430d21-8e5e-4d9c-81e9-e1ae515d6d74" providerId="ADAL" clId="{356C853E-D027-4183-864D-1C71215F695F}" dt="2017-12-05T18:19:09.011" v="493" actId="2696"/>
          <ac:spMkLst>
            <pc:docMk/>
            <pc:sldMk cId="3556834676" sldId="336"/>
            <ac:spMk id="86" creationId="{B76154B7-4472-45CB-9D12-D7A1BE27CA91}"/>
          </ac:spMkLst>
        </pc:spChg>
        <pc:spChg chg="add">
          <ac:chgData name="Andy Roberts" userId="b6430d21-8e5e-4d9c-81e9-e1ae515d6d74" providerId="ADAL" clId="{356C853E-D027-4183-864D-1C71215F695F}" dt="2017-12-05T18:19:09.011" v="493" actId="2696"/>
          <ac:spMkLst>
            <pc:docMk/>
            <pc:sldMk cId="3556834676" sldId="336"/>
            <ac:spMk id="87" creationId="{1E046C10-5D11-49F3-AE17-244B35B160A6}"/>
          </ac:spMkLst>
        </pc:spChg>
        <pc:spChg chg="add">
          <ac:chgData name="Andy Roberts" userId="b6430d21-8e5e-4d9c-81e9-e1ae515d6d74" providerId="ADAL" clId="{356C853E-D027-4183-864D-1C71215F695F}" dt="2017-12-05T18:19:09.011" v="493" actId="2696"/>
          <ac:spMkLst>
            <pc:docMk/>
            <pc:sldMk cId="3556834676" sldId="336"/>
            <ac:spMk id="88" creationId="{56EED3A0-7E43-4EB6-A651-AF105AC43DAD}"/>
          </ac:spMkLst>
        </pc:spChg>
        <pc:spChg chg="add">
          <ac:chgData name="Andy Roberts" userId="b6430d21-8e5e-4d9c-81e9-e1ae515d6d74" providerId="ADAL" clId="{356C853E-D027-4183-864D-1C71215F695F}" dt="2017-12-05T18:19:09.011" v="493" actId="2696"/>
          <ac:spMkLst>
            <pc:docMk/>
            <pc:sldMk cId="3556834676" sldId="336"/>
            <ac:spMk id="89" creationId="{B3E21CA5-186A-4304-AAB8-D4968550C9A8}"/>
          </ac:spMkLst>
        </pc:spChg>
        <pc:spChg chg="add">
          <ac:chgData name="Andy Roberts" userId="b6430d21-8e5e-4d9c-81e9-e1ae515d6d74" providerId="ADAL" clId="{356C853E-D027-4183-864D-1C71215F695F}" dt="2017-12-05T18:19:09.011" v="493" actId="2696"/>
          <ac:spMkLst>
            <pc:docMk/>
            <pc:sldMk cId="3556834676" sldId="336"/>
            <ac:spMk id="90" creationId="{14898D6C-E1D3-4EC7-9165-93FFE1714010}"/>
          </ac:spMkLst>
        </pc:spChg>
        <pc:spChg chg="add">
          <ac:chgData name="Andy Roberts" userId="b6430d21-8e5e-4d9c-81e9-e1ae515d6d74" providerId="ADAL" clId="{356C853E-D027-4183-864D-1C71215F695F}" dt="2017-12-05T18:19:09.011" v="493" actId="2696"/>
          <ac:spMkLst>
            <pc:docMk/>
            <pc:sldMk cId="3556834676" sldId="336"/>
            <ac:spMk id="91" creationId="{0562E95D-3ADC-43CD-81CE-9AB8F673F598}"/>
          </ac:spMkLst>
        </pc:spChg>
        <pc:spChg chg="add">
          <ac:chgData name="Andy Roberts" userId="b6430d21-8e5e-4d9c-81e9-e1ae515d6d74" providerId="ADAL" clId="{356C853E-D027-4183-864D-1C71215F695F}" dt="2017-12-05T18:19:09.011" v="493" actId="2696"/>
          <ac:spMkLst>
            <pc:docMk/>
            <pc:sldMk cId="3556834676" sldId="336"/>
            <ac:spMk id="92" creationId="{062DAAD8-1E7D-4497-B117-218621F52D7E}"/>
          </ac:spMkLst>
        </pc:spChg>
        <pc:spChg chg="add">
          <ac:chgData name="Andy Roberts" userId="b6430d21-8e5e-4d9c-81e9-e1ae515d6d74" providerId="ADAL" clId="{356C853E-D027-4183-864D-1C71215F695F}" dt="2017-12-05T18:19:09.011" v="493" actId="2696"/>
          <ac:spMkLst>
            <pc:docMk/>
            <pc:sldMk cId="3556834676" sldId="336"/>
            <ac:spMk id="93" creationId="{F7CF5B86-EECF-4707-9A96-ABF2BC1362C1}"/>
          </ac:spMkLst>
        </pc:spChg>
        <pc:spChg chg="add">
          <ac:chgData name="Andy Roberts" userId="b6430d21-8e5e-4d9c-81e9-e1ae515d6d74" providerId="ADAL" clId="{356C853E-D027-4183-864D-1C71215F695F}" dt="2017-12-05T18:19:09.011" v="493" actId="2696"/>
          <ac:spMkLst>
            <pc:docMk/>
            <pc:sldMk cId="3556834676" sldId="336"/>
            <ac:spMk id="94" creationId="{11067A87-DA09-41E4-86E3-41E9DE2BE7A4}"/>
          </ac:spMkLst>
        </pc:spChg>
        <pc:spChg chg="add">
          <ac:chgData name="Andy Roberts" userId="b6430d21-8e5e-4d9c-81e9-e1ae515d6d74" providerId="ADAL" clId="{356C853E-D027-4183-864D-1C71215F695F}" dt="2017-12-05T18:19:09.011" v="493" actId="2696"/>
          <ac:spMkLst>
            <pc:docMk/>
            <pc:sldMk cId="3556834676" sldId="336"/>
            <ac:spMk id="95" creationId="{11310256-9B30-420C-853C-1F9D07F31340}"/>
          </ac:spMkLst>
        </pc:spChg>
        <pc:spChg chg="add">
          <ac:chgData name="Andy Roberts" userId="b6430d21-8e5e-4d9c-81e9-e1ae515d6d74" providerId="ADAL" clId="{356C853E-D027-4183-864D-1C71215F695F}" dt="2017-12-05T18:19:09.011" v="493" actId="2696"/>
          <ac:spMkLst>
            <pc:docMk/>
            <pc:sldMk cId="3556834676" sldId="336"/>
            <ac:spMk id="96" creationId="{E942C2BE-0043-4A31-8627-8358C1A6FD40}"/>
          </ac:spMkLst>
        </pc:spChg>
        <pc:spChg chg="add">
          <ac:chgData name="Andy Roberts" userId="b6430d21-8e5e-4d9c-81e9-e1ae515d6d74" providerId="ADAL" clId="{356C853E-D027-4183-864D-1C71215F695F}" dt="2017-12-05T18:19:09.011" v="493" actId="2696"/>
          <ac:spMkLst>
            <pc:docMk/>
            <pc:sldMk cId="3556834676" sldId="336"/>
            <ac:spMk id="97" creationId="{C75DA69B-BB93-4010-ABC1-25D03CC2433D}"/>
          </ac:spMkLst>
        </pc:spChg>
        <pc:spChg chg="add">
          <ac:chgData name="Andy Roberts" userId="b6430d21-8e5e-4d9c-81e9-e1ae515d6d74" providerId="ADAL" clId="{356C853E-D027-4183-864D-1C71215F695F}" dt="2017-12-05T18:19:09.011" v="493" actId="2696"/>
          <ac:spMkLst>
            <pc:docMk/>
            <pc:sldMk cId="3556834676" sldId="336"/>
            <ac:spMk id="98" creationId="{A809B012-AC15-4B97-B41B-8103C74FD6EA}"/>
          </ac:spMkLst>
        </pc:spChg>
        <pc:spChg chg="add">
          <ac:chgData name="Andy Roberts" userId="b6430d21-8e5e-4d9c-81e9-e1ae515d6d74" providerId="ADAL" clId="{356C853E-D027-4183-864D-1C71215F695F}" dt="2017-12-05T18:19:09.011" v="493" actId="2696"/>
          <ac:spMkLst>
            <pc:docMk/>
            <pc:sldMk cId="3556834676" sldId="336"/>
            <ac:spMk id="99" creationId="{20004DC2-3239-4703-A12D-CD5010C19C95}"/>
          </ac:spMkLst>
        </pc:spChg>
        <pc:spChg chg="add">
          <ac:chgData name="Andy Roberts" userId="b6430d21-8e5e-4d9c-81e9-e1ae515d6d74" providerId="ADAL" clId="{356C853E-D027-4183-864D-1C71215F695F}" dt="2017-12-05T18:19:09.011" v="493" actId="2696"/>
          <ac:spMkLst>
            <pc:docMk/>
            <pc:sldMk cId="3556834676" sldId="336"/>
            <ac:spMk id="100" creationId="{26C5B930-0569-4EF7-AED8-110C390B56F8}"/>
          </ac:spMkLst>
        </pc:spChg>
        <pc:spChg chg="add">
          <ac:chgData name="Andy Roberts" userId="b6430d21-8e5e-4d9c-81e9-e1ae515d6d74" providerId="ADAL" clId="{356C853E-D027-4183-864D-1C71215F695F}" dt="2017-12-05T18:19:09.011" v="493" actId="2696"/>
          <ac:spMkLst>
            <pc:docMk/>
            <pc:sldMk cId="3556834676" sldId="336"/>
            <ac:spMk id="101" creationId="{9314B41E-2A71-467A-9093-1D4DD1816A38}"/>
          </ac:spMkLst>
        </pc:spChg>
        <pc:spChg chg="add">
          <ac:chgData name="Andy Roberts" userId="b6430d21-8e5e-4d9c-81e9-e1ae515d6d74" providerId="ADAL" clId="{356C853E-D027-4183-864D-1C71215F695F}" dt="2017-12-05T18:19:09.011" v="493" actId="2696"/>
          <ac:spMkLst>
            <pc:docMk/>
            <pc:sldMk cId="3556834676" sldId="336"/>
            <ac:spMk id="102" creationId="{6CAA58C8-9D29-4C6F-8E04-04BA69D96DEF}"/>
          </ac:spMkLst>
        </pc:spChg>
        <pc:spChg chg="add">
          <ac:chgData name="Andy Roberts" userId="b6430d21-8e5e-4d9c-81e9-e1ae515d6d74" providerId="ADAL" clId="{356C853E-D027-4183-864D-1C71215F695F}" dt="2017-12-05T18:19:09.011" v="493" actId="2696"/>
          <ac:spMkLst>
            <pc:docMk/>
            <pc:sldMk cId="3556834676" sldId="336"/>
            <ac:spMk id="103" creationId="{E98B85C3-240C-4A3D-960C-CE1AC1567105}"/>
          </ac:spMkLst>
        </pc:spChg>
        <pc:spChg chg="add">
          <ac:chgData name="Andy Roberts" userId="b6430d21-8e5e-4d9c-81e9-e1ae515d6d74" providerId="ADAL" clId="{356C853E-D027-4183-864D-1C71215F695F}" dt="2017-12-05T18:19:09.011" v="493" actId="2696"/>
          <ac:spMkLst>
            <pc:docMk/>
            <pc:sldMk cId="3556834676" sldId="336"/>
            <ac:spMk id="104" creationId="{E475E5AD-ADDE-485D-BF08-2E67B68DA31C}"/>
          </ac:spMkLst>
        </pc:spChg>
        <pc:spChg chg="add">
          <ac:chgData name="Andy Roberts" userId="b6430d21-8e5e-4d9c-81e9-e1ae515d6d74" providerId="ADAL" clId="{356C853E-D027-4183-864D-1C71215F695F}" dt="2017-12-05T18:19:09.011" v="493" actId="2696"/>
          <ac:spMkLst>
            <pc:docMk/>
            <pc:sldMk cId="3556834676" sldId="336"/>
            <ac:spMk id="105" creationId="{2B025A52-EDE3-4CD0-9406-1FED70F7B93F}"/>
          </ac:spMkLst>
        </pc:spChg>
        <pc:spChg chg="add">
          <ac:chgData name="Andy Roberts" userId="b6430d21-8e5e-4d9c-81e9-e1ae515d6d74" providerId="ADAL" clId="{356C853E-D027-4183-864D-1C71215F695F}" dt="2017-12-05T18:19:09.011" v="493" actId="2696"/>
          <ac:spMkLst>
            <pc:docMk/>
            <pc:sldMk cId="3556834676" sldId="336"/>
            <ac:spMk id="106" creationId="{872643C8-D8B3-4C94-A294-B7AC4A8667A3}"/>
          </ac:spMkLst>
        </pc:spChg>
        <pc:spChg chg="add">
          <ac:chgData name="Andy Roberts" userId="b6430d21-8e5e-4d9c-81e9-e1ae515d6d74" providerId="ADAL" clId="{356C853E-D027-4183-864D-1C71215F695F}" dt="2017-12-05T18:19:09.011" v="493" actId="2696"/>
          <ac:spMkLst>
            <pc:docMk/>
            <pc:sldMk cId="3556834676" sldId="336"/>
            <ac:spMk id="107" creationId="{34DDD544-F1EE-40E1-8517-6C0E9EF0DEE9}"/>
          </ac:spMkLst>
        </pc:spChg>
        <pc:spChg chg="add">
          <ac:chgData name="Andy Roberts" userId="b6430d21-8e5e-4d9c-81e9-e1ae515d6d74" providerId="ADAL" clId="{356C853E-D027-4183-864D-1C71215F695F}" dt="2017-12-05T18:19:09.011" v="493" actId="2696"/>
          <ac:spMkLst>
            <pc:docMk/>
            <pc:sldMk cId="3556834676" sldId="336"/>
            <ac:spMk id="108" creationId="{B0C1A1DE-B232-42D2-892B-17BF769F7E24}"/>
          </ac:spMkLst>
        </pc:spChg>
        <pc:spChg chg="add">
          <ac:chgData name="Andy Roberts" userId="b6430d21-8e5e-4d9c-81e9-e1ae515d6d74" providerId="ADAL" clId="{356C853E-D027-4183-864D-1C71215F695F}" dt="2017-12-05T18:19:09.011" v="493" actId="2696"/>
          <ac:spMkLst>
            <pc:docMk/>
            <pc:sldMk cId="3556834676" sldId="336"/>
            <ac:spMk id="109" creationId="{3C991B79-EAE3-4AF5-83E4-68AEEDBBE0DF}"/>
          </ac:spMkLst>
        </pc:spChg>
        <pc:spChg chg="add">
          <ac:chgData name="Andy Roberts" userId="b6430d21-8e5e-4d9c-81e9-e1ae515d6d74" providerId="ADAL" clId="{356C853E-D027-4183-864D-1C71215F695F}" dt="2017-12-05T18:19:09.011" v="493" actId="2696"/>
          <ac:spMkLst>
            <pc:docMk/>
            <pc:sldMk cId="3556834676" sldId="336"/>
            <ac:spMk id="110" creationId="{3373ABB7-2A47-4150-9B31-9320C468790B}"/>
          </ac:spMkLst>
        </pc:spChg>
        <pc:spChg chg="add">
          <ac:chgData name="Andy Roberts" userId="b6430d21-8e5e-4d9c-81e9-e1ae515d6d74" providerId="ADAL" clId="{356C853E-D027-4183-864D-1C71215F695F}" dt="2017-12-05T18:19:09.011" v="493" actId="2696"/>
          <ac:spMkLst>
            <pc:docMk/>
            <pc:sldMk cId="3556834676" sldId="336"/>
            <ac:spMk id="111" creationId="{DF1A8B38-8C91-4D23-8907-4E47CDD668CB}"/>
          </ac:spMkLst>
        </pc:spChg>
        <pc:spChg chg="add">
          <ac:chgData name="Andy Roberts" userId="b6430d21-8e5e-4d9c-81e9-e1ae515d6d74" providerId="ADAL" clId="{356C853E-D027-4183-864D-1C71215F695F}" dt="2017-12-05T18:19:09.011" v="493" actId="2696"/>
          <ac:spMkLst>
            <pc:docMk/>
            <pc:sldMk cId="3556834676" sldId="336"/>
            <ac:spMk id="112" creationId="{7C153CB3-BF40-42BB-B20A-62AB805B1664}"/>
          </ac:spMkLst>
        </pc:spChg>
        <pc:spChg chg="add">
          <ac:chgData name="Andy Roberts" userId="b6430d21-8e5e-4d9c-81e9-e1ae515d6d74" providerId="ADAL" clId="{356C853E-D027-4183-864D-1C71215F695F}" dt="2017-12-05T18:19:09.011" v="493" actId="2696"/>
          <ac:spMkLst>
            <pc:docMk/>
            <pc:sldMk cId="3556834676" sldId="336"/>
            <ac:spMk id="113" creationId="{A084F96D-CF62-42F9-AA72-0ED3CD287759}"/>
          </ac:spMkLst>
        </pc:spChg>
        <pc:spChg chg="add">
          <ac:chgData name="Andy Roberts" userId="b6430d21-8e5e-4d9c-81e9-e1ae515d6d74" providerId="ADAL" clId="{356C853E-D027-4183-864D-1C71215F695F}" dt="2017-12-05T18:19:09.011" v="493" actId="2696"/>
          <ac:spMkLst>
            <pc:docMk/>
            <pc:sldMk cId="3556834676" sldId="336"/>
            <ac:spMk id="114" creationId="{C9E17AA3-EE9C-445F-AA50-FA058EBAC9C0}"/>
          </ac:spMkLst>
        </pc:spChg>
        <pc:spChg chg="add">
          <ac:chgData name="Andy Roberts" userId="b6430d21-8e5e-4d9c-81e9-e1ae515d6d74" providerId="ADAL" clId="{356C853E-D027-4183-864D-1C71215F695F}" dt="2017-12-05T18:19:09.011" v="493" actId="2696"/>
          <ac:spMkLst>
            <pc:docMk/>
            <pc:sldMk cId="3556834676" sldId="336"/>
            <ac:spMk id="115" creationId="{4310A9B7-6B16-4D92-B701-590A62818FDA}"/>
          </ac:spMkLst>
        </pc:spChg>
        <pc:spChg chg="add">
          <ac:chgData name="Andy Roberts" userId="b6430d21-8e5e-4d9c-81e9-e1ae515d6d74" providerId="ADAL" clId="{356C853E-D027-4183-864D-1C71215F695F}" dt="2017-12-05T18:19:09.011" v="493" actId="2696"/>
          <ac:spMkLst>
            <pc:docMk/>
            <pc:sldMk cId="3556834676" sldId="336"/>
            <ac:spMk id="116" creationId="{DC4D1A00-B235-4715-AB13-BF10AD009720}"/>
          </ac:spMkLst>
        </pc:spChg>
        <pc:spChg chg="add">
          <ac:chgData name="Andy Roberts" userId="b6430d21-8e5e-4d9c-81e9-e1ae515d6d74" providerId="ADAL" clId="{356C853E-D027-4183-864D-1C71215F695F}" dt="2017-12-05T18:19:09.011" v="493" actId="2696"/>
          <ac:spMkLst>
            <pc:docMk/>
            <pc:sldMk cId="3556834676" sldId="336"/>
            <ac:spMk id="117" creationId="{865AF5DE-49A5-4446-B7EB-7AE9BE3B4A77}"/>
          </ac:spMkLst>
        </pc:spChg>
        <pc:spChg chg="add">
          <ac:chgData name="Andy Roberts" userId="b6430d21-8e5e-4d9c-81e9-e1ae515d6d74" providerId="ADAL" clId="{356C853E-D027-4183-864D-1C71215F695F}" dt="2017-12-05T18:19:09.011" v="493" actId="2696"/>
          <ac:spMkLst>
            <pc:docMk/>
            <pc:sldMk cId="3556834676" sldId="336"/>
            <ac:spMk id="118" creationId="{3BA2BFAD-24AE-4BBC-9668-867FC0CFDA6C}"/>
          </ac:spMkLst>
        </pc:spChg>
        <pc:spChg chg="add">
          <ac:chgData name="Andy Roberts" userId="b6430d21-8e5e-4d9c-81e9-e1ae515d6d74" providerId="ADAL" clId="{356C853E-D027-4183-864D-1C71215F695F}" dt="2017-12-05T18:19:09.011" v="493" actId="2696"/>
          <ac:spMkLst>
            <pc:docMk/>
            <pc:sldMk cId="3556834676" sldId="336"/>
            <ac:spMk id="119" creationId="{FAA3091E-012D-46BB-AA4A-BEB684E2BBD9}"/>
          </ac:spMkLst>
        </pc:spChg>
        <pc:spChg chg="add">
          <ac:chgData name="Andy Roberts" userId="b6430d21-8e5e-4d9c-81e9-e1ae515d6d74" providerId="ADAL" clId="{356C853E-D027-4183-864D-1C71215F695F}" dt="2017-12-05T18:19:09.011" v="493" actId="2696"/>
          <ac:spMkLst>
            <pc:docMk/>
            <pc:sldMk cId="3556834676" sldId="336"/>
            <ac:spMk id="120" creationId="{20C63B71-EE2A-4EFE-908B-94C5065F9258}"/>
          </ac:spMkLst>
        </pc:spChg>
        <pc:spChg chg="add">
          <ac:chgData name="Andy Roberts" userId="b6430d21-8e5e-4d9c-81e9-e1ae515d6d74" providerId="ADAL" clId="{356C853E-D027-4183-864D-1C71215F695F}" dt="2017-12-05T18:19:09.011" v="493" actId="2696"/>
          <ac:spMkLst>
            <pc:docMk/>
            <pc:sldMk cId="3556834676" sldId="336"/>
            <ac:spMk id="121" creationId="{8DA53932-9655-4FA2-B7FD-4D63F3952412}"/>
          </ac:spMkLst>
        </pc:spChg>
        <pc:spChg chg="add">
          <ac:chgData name="Andy Roberts" userId="b6430d21-8e5e-4d9c-81e9-e1ae515d6d74" providerId="ADAL" clId="{356C853E-D027-4183-864D-1C71215F695F}" dt="2017-12-05T18:19:09.011" v="493" actId="2696"/>
          <ac:spMkLst>
            <pc:docMk/>
            <pc:sldMk cId="3556834676" sldId="336"/>
            <ac:spMk id="122" creationId="{95E87112-397B-4F48-A106-FC517E7ECC02}"/>
          </ac:spMkLst>
        </pc:spChg>
        <pc:spChg chg="add">
          <ac:chgData name="Andy Roberts" userId="b6430d21-8e5e-4d9c-81e9-e1ae515d6d74" providerId="ADAL" clId="{356C853E-D027-4183-864D-1C71215F695F}" dt="2017-12-05T18:19:09.011" v="493" actId="2696"/>
          <ac:spMkLst>
            <pc:docMk/>
            <pc:sldMk cId="3556834676" sldId="336"/>
            <ac:spMk id="123" creationId="{8A2D770D-DDEF-4F09-855E-6EC84C460D17}"/>
          </ac:spMkLst>
        </pc:spChg>
        <pc:spChg chg="add">
          <ac:chgData name="Andy Roberts" userId="b6430d21-8e5e-4d9c-81e9-e1ae515d6d74" providerId="ADAL" clId="{356C853E-D027-4183-864D-1C71215F695F}" dt="2017-12-05T18:19:09.011" v="493" actId="2696"/>
          <ac:spMkLst>
            <pc:docMk/>
            <pc:sldMk cId="3556834676" sldId="336"/>
            <ac:spMk id="124" creationId="{B0CDA371-6F36-4DB1-B28C-A7295F1AEA40}"/>
          </ac:spMkLst>
        </pc:spChg>
        <pc:spChg chg="add">
          <ac:chgData name="Andy Roberts" userId="b6430d21-8e5e-4d9c-81e9-e1ae515d6d74" providerId="ADAL" clId="{356C853E-D027-4183-864D-1C71215F695F}" dt="2017-12-05T18:19:09.011" v="493" actId="2696"/>
          <ac:spMkLst>
            <pc:docMk/>
            <pc:sldMk cId="3556834676" sldId="336"/>
            <ac:spMk id="125" creationId="{66DB5DED-EC40-49B5-A057-5560FF1D1AB6}"/>
          </ac:spMkLst>
        </pc:spChg>
        <pc:spChg chg="add">
          <ac:chgData name="Andy Roberts" userId="b6430d21-8e5e-4d9c-81e9-e1ae515d6d74" providerId="ADAL" clId="{356C853E-D027-4183-864D-1C71215F695F}" dt="2017-12-05T18:19:09.011" v="493" actId="2696"/>
          <ac:spMkLst>
            <pc:docMk/>
            <pc:sldMk cId="3556834676" sldId="336"/>
            <ac:spMk id="126" creationId="{BE8BF065-2F4E-48C1-AF9E-963E79B59A2A}"/>
          </ac:spMkLst>
        </pc:spChg>
        <pc:spChg chg="add">
          <ac:chgData name="Andy Roberts" userId="b6430d21-8e5e-4d9c-81e9-e1ae515d6d74" providerId="ADAL" clId="{356C853E-D027-4183-864D-1C71215F695F}" dt="2017-12-05T18:19:09.011" v="493" actId="2696"/>
          <ac:spMkLst>
            <pc:docMk/>
            <pc:sldMk cId="3556834676" sldId="336"/>
            <ac:spMk id="127" creationId="{A5BDBD7F-A572-4C8B-9DB5-2ED64F3CAE0D}"/>
          </ac:spMkLst>
        </pc:spChg>
        <pc:spChg chg="add">
          <ac:chgData name="Andy Roberts" userId="b6430d21-8e5e-4d9c-81e9-e1ae515d6d74" providerId="ADAL" clId="{356C853E-D027-4183-864D-1C71215F695F}" dt="2017-12-05T18:19:09.011" v="493" actId="2696"/>
          <ac:spMkLst>
            <pc:docMk/>
            <pc:sldMk cId="3556834676" sldId="336"/>
            <ac:spMk id="128" creationId="{B4697742-479F-43E9-91F4-666B89D209D9}"/>
          </ac:spMkLst>
        </pc:spChg>
        <pc:spChg chg="add">
          <ac:chgData name="Andy Roberts" userId="b6430d21-8e5e-4d9c-81e9-e1ae515d6d74" providerId="ADAL" clId="{356C853E-D027-4183-864D-1C71215F695F}" dt="2017-12-05T18:19:09.011" v="493" actId="2696"/>
          <ac:spMkLst>
            <pc:docMk/>
            <pc:sldMk cId="3556834676" sldId="336"/>
            <ac:spMk id="129" creationId="{23D8FB22-FF0E-4EEB-A028-02861F290E93}"/>
          </ac:spMkLst>
        </pc:spChg>
        <pc:spChg chg="add">
          <ac:chgData name="Andy Roberts" userId="b6430d21-8e5e-4d9c-81e9-e1ae515d6d74" providerId="ADAL" clId="{356C853E-D027-4183-864D-1C71215F695F}" dt="2017-12-05T18:19:09.011" v="493" actId="2696"/>
          <ac:spMkLst>
            <pc:docMk/>
            <pc:sldMk cId="3556834676" sldId="336"/>
            <ac:spMk id="130" creationId="{1B4664A0-5D00-4F27-8211-1702154E5143}"/>
          </ac:spMkLst>
        </pc:spChg>
        <pc:spChg chg="add">
          <ac:chgData name="Andy Roberts" userId="b6430d21-8e5e-4d9c-81e9-e1ae515d6d74" providerId="ADAL" clId="{356C853E-D027-4183-864D-1C71215F695F}" dt="2017-12-05T18:19:09.011" v="493" actId="2696"/>
          <ac:spMkLst>
            <pc:docMk/>
            <pc:sldMk cId="3556834676" sldId="336"/>
            <ac:spMk id="131" creationId="{8A42C2E8-314A-44BD-8E4D-78DB07EA0766}"/>
          </ac:spMkLst>
        </pc:spChg>
        <pc:spChg chg="add">
          <ac:chgData name="Andy Roberts" userId="b6430d21-8e5e-4d9c-81e9-e1ae515d6d74" providerId="ADAL" clId="{356C853E-D027-4183-864D-1C71215F695F}" dt="2017-12-05T18:19:09.011" v="493" actId="2696"/>
          <ac:spMkLst>
            <pc:docMk/>
            <pc:sldMk cId="3556834676" sldId="336"/>
            <ac:spMk id="132" creationId="{1AD41D1D-D3B0-4C74-B89C-F7F767EAD133}"/>
          </ac:spMkLst>
        </pc:spChg>
        <pc:spChg chg="add">
          <ac:chgData name="Andy Roberts" userId="b6430d21-8e5e-4d9c-81e9-e1ae515d6d74" providerId="ADAL" clId="{356C853E-D027-4183-864D-1C71215F695F}" dt="2017-12-05T18:19:09.011" v="493" actId="2696"/>
          <ac:spMkLst>
            <pc:docMk/>
            <pc:sldMk cId="3556834676" sldId="336"/>
            <ac:spMk id="133" creationId="{F39125BA-4A23-4532-A7E4-49D875661133}"/>
          </ac:spMkLst>
        </pc:spChg>
        <pc:spChg chg="add">
          <ac:chgData name="Andy Roberts" userId="b6430d21-8e5e-4d9c-81e9-e1ae515d6d74" providerId="ADAL" clId="{356C853E-D027-4183-864D-1C71215F695F}" dt="2017-12-05T18:19:09.011" v="493" actId="2696"/>
          <ac:spMkLst>
            <pc:docMk/>
            <pc:sldMk cId="3556834676" sldId="336"/>
            <ac:spMk id="134" creationId="{F79AF370-A4C9-479E-BF20-64789BDC5513}"/>
          </ac:spMkLst>
        </pc:spChg>
        <pc:spChg chg="add">
          <ac:chgData name="Andy Roberts" userId="b6430d21-8e5e-4d9c-81e9-e1ae515d6d74" providerId="ADAL" clId="{356C853E-D027-4183-864D-1C71215F695F}" dt="2017-12-05T18:19:09.011" v="493" actId="2696"/>
          <ac:spMkLst>
            <pc:docMk/>
            <pc:sldMk cId="3556834676" sldId="336"/>
            <ac:spMk id="135" creationId="{80AD8DC9-3EA2-4B1A-8D84-A31984E936B0}"/>
          </ac:spMkLst>
        </pc:spChg>
        <pc:spChg chg="add">
          <ac:chgData name="Andy Roberts" userId="b6430d21-8e5e-4d9c-81e9-e1ae515d6d74" providerId="ADAL" clId="{356C853E-D027-4183-864D-1C71215F695F}" dt="2017-12-05T18:19:09.011" v="493" actId="2696"/>
          <ac:spMkLst>
            <pc:docMk/>
            <pc:sldMk cId="3556834676" sldId="336"/>
            <ac:spMk id="136" creationId="{E0993DB3-B647-4E31-97D3-4E5AD17032EA}"/>
          </ac:spMkLst>
        </pc:spChg>
        <pc:spChg chg="add">
          <ac:chgData name="Andy Roberts" userId="b6430d21-8e5e-4d9c-81e9-e1ae515d6d74" providerId="ADAL" clId="{356C853E-D027-4183-864D-1C71215F695F}" dt="2017-12-05T18:19:09.011" v="493" actId="2696"/>
          <ac:spMkLst>
            <pc:docMk/>
            <pc:sldMk cId="3556834676" sldId="336"/>
            <ac:spMk id="137" creationId="{28FC11BD-4865-40C0-968F-32C134A70BF0}"/>
          </ac:spMkLst>
        </pc:spChg>
        <pc:spChg chg="add">
          <ac:chgData name="Andy Roberts" userId="b6430d21-8e5e-4d9c-81e9-e1ae515d6d74" providerId="ADAL" clId="{356C853E-D027-4183-864D-1C71215F695F}" dt="2017-12-05T18:19:09.011" v="493" actId="2696"/>
          <ac:spMkLst>
            <pc:docMk/>
            <pc:sldMk cId="3556834676" sldId="336"/>
            <ac:spMk id="138" creationId="{05EE72F6-4FC0-47C2-9685-96F7C6AC2FFE}"/>
          </ac:spMkLst>
        </pc:spChg>
        <pc:spChg chg="add">
          <ac:chgData name="Andy Roberts" userId="b6430d21-8e5e-4d9c-81e9-e1ae515d6d74" providerId="ADAL" clId="{356C853E-D027-4183-864D-1C71215F695F}" dt="2017-12-05T18:19:09.011" v="493" actId="2696"/>
          <ac:spMkLst>
            <pc:docMk/>
            <pc:sldMk cId="3556834676" sldId="336"/>
            <ac:spMk id="139" creationId="{0ADE81D8-4351-41ED-9C5A-83180E855B3A}"/>
          </ac:spMkLst>
        </pc:spChg>
        <pc:spChg chg="add">
          <ac:chgData name="Andy Roberts" userId="b6430d21-8e5e-4d9c-81e9-e1ae515d6d74" providerId="ADAL" clId="{356C853E-D027-4183-864D-1C71215F695F}" dt="2017-12-05T18:19:09.011" v="493" actId="2696"/>
          <ac:spMkLst>
            <pc:docMk/>
            <pc:sldMk cId="3556834676" sldId="336"/>
            <ac:spMk id="140" creationId="{257060D0-4BA8-4E37-A7A6-663F896DAC68}"/>
          </ac:spMkLst>
        </pc:spChg>
        <pc:spChg chg="add">
          <ac:chgData name="Andy Roberts" userId="b6430d21-8e5e-4d9c-81e9-e1ae515d6d74" providerId="ADAL" clId="{356C853E-D027-4183-864D-1C71215F695F}" dt="2017-12-05T18:19:09.011" v="493" actId="2696"/>
          <ac:spMkLst>
            <pc:docMk/>
            <pc:sldMk cId="3556834676" sldId="336"/>
            <ac:spMk id="141" creationId="{031D526F-449E-469D-8828-997FD38BB4A5}"/>
          </ac:spMkLst>
        </pc:spChg>
        <pc:spChg chg="add">
          <ac:chgData name="Andy Roberts" userId="b6430d21-8e5e-4d9c-81e9-e1ae515d6d74" providerId="ADAL" clId="{356C853E-D027-4183-864D-1C71215F695F}" dt="2017-12-05T18:19:09.011" v="493" actId="2696"/>
          <ac:spMkLst>
            <pc:docMk/>
            <pc:sldMk cId="3556834676" sldId="336"/>
            <ac:spMk id="142" creationId="{B813ED28-0527-431A-97B8-F3DC47E8B377}"/>
          </ac:spMkLst>
        </pc:spChg>
        <pc:spChg chg="add">
          <ac:chgData name="Andy Roberts" userId="b6430d21-8e5e-4d9c-81e9-e1ae515d6d74" providerId="ADAL" clId="{356C853E-D027-4183-864D-1C71215F695F}" dt="2017-12-05T18:19:09.011" v="493" actId="2696"/>
          <ac:spMkLst>
            <pc:docMk/>
            <pc:sldMk cId="3556834676" sldId="336"/>
            <ac:spMk id="143" creationId="{3CC35520-D180-4C5E-BAF0-EE7EC377E57E}"/>
          </ac:spMkLst>
        </pc:spChg>
        <pc:spChg chg="add">
          <ac:chgData name="Andy Roberts" userId="b6430d21-8e5e-4d9c-81e9-e1ae515d6d74" providerId="ADAL" clId="{356C853E-D027-4183-864D-1C71215F695F}" dt="2017-12-05T18:19:09.011" v="493" actId="2696"/>
          <ac:spMkLst>
            <pc:docMk/>
            <pc:sldMk cId="3556834676" sldId="336"/>
            <ac:spMk id="144" creationId="{EF3F5878-8B71-4EE8-891F-DBBF87465C83}"/>
          </ac:spMkLst>
        </pc:spChg>
        <pc:spChg chg="add">
          <ac:chgData name="Andy Roberts" userId="b6430d21-8e5e-4d9c-81e9-e1ae515d6d74" providerId="ADAL" clId="{356C853E-D027-4183-864D-1C71215F695F}" dt="2017-12-05T18:19:09.011" v="493" actId="2696"/>
          <ac:spMkLst>
            <pc:docMk/>
            <pc:sldMk cId="3556834676" sldId="336"/>
            <ac:spMk id="145" creationId="{EE59A11B-830B-4557-9B4C-4484468D2A3E}"/>
          </ac:spMkLst>
        </pc:spChg>
        <pc:spChg chg="add">
          <ac:chgData name="Andy Roberts" userId="b6430d21-8e5e-4d9c-81e9-e1ae515d6d74" providerId="ADAL" clId="{356C853E-D027-4183-864D-1C71215F695F}" dt="2017-12-05T18:19:09.011" v="493" actId="2696"/>
          <ac:spMkLst>
            <pc:docMk/>
            <pc:sldMk cId="3556834676" sldId="336"/>
            <ac:spMk id="146" creationId="{2DE5ACA0-A7AD-4CBE-895E-B0E09EA6FED9}"/>
          </ac:spMkLst>
        </pc:spChg>
        <pc:spChg chg="add">
          <ac:chgData name="Andy Roberts" userId="b6430d21-8e5e-4d9c-81e9-e1ae515d6d74" providerId="ADAL" clId="{356C853E-D027-4183-864D-1C71215F695F}" dt="2017-12-05T18:19:09.011" v="493" actId="2696"/>
          <ac:spMkLst>
            <pc:docMk/>
            <pc:sldMk cId="3556834676" sldId="336"/>
            <ac:spMk id="147" creationId="{8F04A181-5169-4B36-9F17-95ABA96F4205}"/>
          </ac:spMkLst>
        </pc:spChg>
        <pc:spChg chg="add">
          <ac:chgData name="Andy Roberts" userId="b6430d21-8e5e-4d9c-81e9-e1ae515d6d74" providerId="ADAL" clId="{356C853E-D027-4183-864D-1C71215F695F}" dt="2017-12-05T18:19:09.011" v="493" actId="2696"/>
          <ac:spMkLst>
            <pc:docMk/>
            <pc:sldMk cId="3556834676" sldId="336"/>
            <ac:spMk id="148" creationId="{4319A73A-F24B-4196-A9C5-0503F92F5CF3}"/>
          </ac:spMkLst>
        </pc:spChg>
        <pc:spChg chg="add">
          <ac:chgData name="Andy Roberts" userId="b6430d21-8e5e-4d9c-81e9-e1ae515d6d74" providerId="ADAL" clId="{356C853E-D027-4183-864D-1C71215F695F}" dt="2017-12-05T18:19:54.159" v="505" actId="2696"/>
          <ac:spMkLst>
            <pc:docMk/>
            <pc:sldMk cId="3556834676" sldId="336"/>
            <ac:spMk id="149" creationId="{884CEFD3-F6F9-4E89-BAFD-ED71DF8497CE}"/>
          </ac:spMkLst>
        </pc:spChg>
        <pc:spChg chg="add">
          <ac:chgData name="Andy Roberts" userId="b6430d21-8e5e-4d9c-81e9-e1ae515d6d74" providerId="ADAL" clId="{356C853E-D027-4183-864D-1C71215F695F}" dt="2017-12-05T18:19:54.159" v="505" actId="2696"/>
          <ac:spMkLst>
            <pc:docMk/>
            <pc:sldMk cId="3556834676" sldId="336"/>
            <ac:spMk id="150" creationId="{F829E345-9361-4F9A-A40F-75DCCD6D7913}"/>
          </ac:spMkLst>
        </pc:spChg>
        <pc:spChg chg="add">
          <ac:chgData name="Andy Roberts" userId="b6430d21-8e5e-4d9c-81e9-e1ae515d6d74" providerId="ADAL" clId="{356C853E-D027-4183-864D-1C71215F695F}" dt="2017-12-05T18:19:54.159" v="505" actId="2696"/>
          <ac:spMkLst>
            <pc:docMk/>
            <pc:sldMk cId="3556834676" sldId="336"/>
            <ac:spMk id="152" creationId="{74E2007B-BCD7-4AD6-9FB2-75E5714DB5B8}"/>
          </ac:spMkLst>
        </pc:spChg>
        <pc:spChg chg="add">
          <ac:chgData name="Andy Roberts" userId="b6430d21-8e5e-4d9c-81e9-e1ae515d6d74" providerId="ADAL" clId="{356C853E-D027-4183-864D-1C71215F695F}" dt="2017-12-05T18:19:54.159" v="505" actId="2696"/>
          <ac:spMkLst>
            <pc:docMk/>
            <pc:sldMk cId="3556834676" sldId="336"/>
            <ac:spMk id="153" creationId="{B73CD8C7-F388-4640-8046-7AE851076C25}"/>
          </ac:spMkLst>
        </pc:spChg>
        <pc:spChg chg="add">
          <ac:chgData name="Andy Roberts" userId="b6430d21-8e5e-4d9c-81e9-e1ae515d6d74" providerId="ADAL" clId="{356C853E-D027-4183-864D-1C71215F695F}" dt="2017-12-05T18:19:54.159" v="505" actId="2696"/>
          <ac:spMkLst>
            <pc:docMk/>
            <pc:sldMk cId="3556834676" sldId="336"/>
            <ac:spMk id="154" creationId="{A52445C1-24FF-401F-97F3-8F09B4BBE34B}"/>
          </ac:spMkLst>
        </pc:spChg>
        <pc:spChg chg="add">
          <ac:chgData name="Andy Roberts" userId="b6430d21-8e5e-4d9c-81e9-e1ae515d6d74" providerId="ADAL" clId="{356C853E-D027-4183-864D-1C71215F695F}" dt="2017-12-05T18:19:54.159" v="505" actId="2696"/>
          <ac:spMkLst>
            <pc:docMk/>
            <pc:sldMk cId="3556834676" sldId="336"/>
            <ac:spMk id="155" creationId="{100C0793-9DFE-457D-8E4E-19E802A755AA}"/>
          </ac:spMkLst>
        </pc:spChg>
        <pc:spChg chg="add">
          <ac:chgData name="Andy Roberts" userId="b6430d21-8e5e-4d9c-81e9-e1ae515d6d74" providerId="ADAL" clId="{356C853E-D027-4183-864D-1C71215F695F}" dt="2017-12-05T18:19:54.159" v="505" actId="2696"/>
          <ac:spMkLst>
            <pc:docMk/>
            <pc:sldMk cId="3556834676" sldId="336"/>
            <ac:spMk id="156" creationId="{07E0A64C-3752-408A-95F0-B0A070360506}"/>
          </ac:spMkLst>
        </pc:spChg>
        <pc:spChg chg="add">
          <ac:chgData name="Andy Roberts" userId="b6430d21-8e5e-4d9c-81e9-e1ae515d6d74" providerId="ADAL" clId="{356C853E-D027-4183-864D-1C71215F695F}" dt="2017-12-05T18:19:54.159" v="505" actId="2696"/>
          <ac:spMkLst>
            <pc:docMk/>
            <pc:sldMk cId="3556834676" sldId="336"/>
            <ac:spMk id="157" creationId="{A85344DF-6E60-42DC-B7B1-4424FD7A1032}"/>
          </ac:spMkLst>
        </pc:spChg>
        <pc:spChg chg="add">
          <ac:chgData name="Andy Roberts" userId="b6430d21-8e5e-4d9c-81e9-e1ae515d6d74" providerId="ADAL" clId="{356C853E-D027-4183-864D-1C71215F695F}" dt="2017-12-05T18:19:54.159" v="505" actId="2696"/>
          <ac:spMkLst>
            <pc:docMk/>
            <pc:sldMk cId="3556834676" sldId="336"/>
            <ac:spMk id="158" creationId="{25D07EA9-379B-417D-9013-E70A897A4E90}"/>
          </ac:spMkLst>
        </pc:spChg>
        <pc:spChg chg="add">
          <ac:chgData name="Andy Roberts" userId="b6430d21-8e5e-4d9c-81e9-e1ae515d6d74" providerId="ADAL" clId="{356C853E-D027-4183-864D-1C71215F695F}" dt="2017-12-05T18:19:54.159" v="505" actId="2696"/>
          <ac:spMkLst>
            <pc:docMk/>
            <pc:sldMk cId="3556834676" sldId="336"/>
            <ac:spMk id="159" creationId="{1F58E3BD-4471-4B76-9C0C-5BCB899C9D65}"/>
          </ac:spMkLst>
        </pc:spChg>
        <pc:spChg chg="add">
          <ac:chgData name="Andy Roberts" userId="b6430d21-8e5e-4d9c-81e9-e1ae515d6d74" providerId="ADAL" clId="{356C853E-D027-4183-864D-1C71215F695F}" dt="2017-12-05T18:19:54.159" v="505" actId="2696"/>
          <ac:spMkLst>
            <pc:docMk/>
            <pc:sldMk cId="3556834676" sldId="336"/>
            <ac:spMk id="160" creationId="{F7004B9A-9AA0-4C88-8AC2-43ECE98F9E0B}"/>
          </ac:spMkLst>
        </pc:spChg>
        <pc:spChg chg="add">
          <ac:chgData name="Andy Roberts" userId="b6430d21-8e5e-4d9c-81e9-e1ae515d6d74" providerId="ADAL" clId="{356C853E-D027-4183-864D-1C71215F695F}" dt="2017-12-05T18:19:54.159" v="505" actId="2696"/>
          <ac:spMkLst>
            <pc:docMk/>
            <pc:sldMk cId="3556834676" sldId="336"/>
            <ac:spMk id="161" creationId="{C05F9BD1-D740-4637-A964-3EDA346AA75F}"/>
          </ac:spMkLst>
        </pc:spChg>
        <pc:spChg chg="add">
          <ac:chgData name="Andy Roberts" userId="b6430d21-8e5e-4d9c-81e9-e1ae515d6d74" providerId="ADAL" clId="{356C853E-D027-4183-864D-1C71215F695F}" dt="2017-12-05T18:19:54.159" v="505" actId="2696"/>
          <ac:spMkLst>
            <pc:docMk/>
            <pc:sldMk cId="3556834676" sldId="336"/>
            <ac:spMk id="165" creationId="{7B2265F5-F6B5-4D1C-9F4B-BBD1574A8E3B}"/>
          </ac:spMkLst>
        </pc:spChg>
        <pc:spChg chg="add">
          <ac:chgData name="Andy Roberts" userId="b6430d21-8e5e-4d9c-81e9-e1ae515d6d74" providerId="ADAL" clId="{356C853E-D027-4183-864D-1C71215F695F}" dt="2017-12-05T18:19:54.159" v="505" actId="2696"/>
          <ac:spMkLst>
            <pc:docMk/>
            <pc:sldMk cId="3556834676" sldId="336"/>
            <ac:spMk id="166" creationId="{A17926DF-A6EA-4D54-AAF9-3E7A9B737C11}"/>
          </ac:spMkLst>
        </pc:spChg>
        <pc:spChg chg="add">
          <ac:chgData name="Andy Roberts" userId="b6430d21-8e5e-4d9c-81e9-e1ae515d6d74" providerId="ADAL" clId="{356C853E-D027-4183-864D-1C71215F695F}" dt="2017-12-05T18:19:54.159" v="505" actId="2696"/>
          <ac:spMkLst>
            <pc:docMk/>
            <pc:sldMk cId="3556834676" sldId="336"/>
            <ac:spMk id="167" creationId="{104EE1BD-A71E-457B-9FB7-84153E0FA425}"/>
          </ac:spMkLst>
        </pc:spChg>
        <pc:spChg chg="add">
          <ac:chgData name="Andy Roberts" userId="b6430d21-8e5e-4d9c-81e9-e1ae515d6d74" providerId="ADAL" clId="{356C853E-D027-4183-864D-1C71215F695F}" dt="2017-12-05T18:19:54.159" v="505" actId="2696"/>
          <ac:spMkLst>
            <pc:docMk/>
            <pc:sldMk cId="3556834676" sldId="336"/>
            <ac:spMk id="168" creationId="{D3AB24DC-58F4-4637-B5A5-38AC90A5509B}"/>
          </ac:spMkLst>
        </pc:spChg>
        <pc:spChg chg="add">
          <ac:chgData name="Andy Roberts" userId="b6430d21-8e5e-4d9c-81e9-e1ae515d6d74" providerId="ADAL" clId="{356C853E-D027-4183-864D-1C71215F695F}" dt="2017-12-05T18:19:54.159" v="505" actId="2696"/>
          <ac:spMkLst>
            <pc:docMk/>
            <pc:sldMk cId="3556834676" sldId="336"/>
            <ac:spMk id="169" creationId="{32B68247-4D66-42D4-AD4C-08A29C174898}"/>
          </ac:spMkLst>
        </pc:spChg>
        <pc:spChg chg="add">
          <ac:chgData name="Andy Roberts" userId="b6430d21-8e5e-4d9c-81e9-e1ae515d6d74" providerId="ADAL" clId="{356C853E-D027-4183-864D-1C71215F695F}" dt="2017-12-05T18:19:54.159" v="505" actId="2696"/>
          <ac:spMkLst>
            <pc:docMk/>
            <pc:sldMk cId="3556834676" sldId="336"/>
            <ac:spMk id="170" creationId="{EA87BF92-821F-47FD-82AF-3BB292293A00}"/>
          </ac:spMkLst>
        </pc:spChg>
        <pc:spChg chg="add">
          <ac:chgData name="Andy Roberts" userId="b6430d21-8e5e-4d9c-81e9-e1ae515d6d74" providerId="ADAL" clId="{356C853E-D027-4183-864D-1C71215F695F}" dt="2017-12-05T18:19:54.159" v="505" actId="2696"/>
          <ac:spMkLst>
            <pc:docMk/>
            <pc:sldMk cId="3556834676" sldId="336"/>
            <ac:spMk id="171" creationId="{C4DDBC63-4A55-4F40-B9D0-7F74DE522BEF}"/>
          </ac:spMkLst>
        </pc:spChg>
        <pc:spChg chg="add">
          <ac:chgData name="Andy Roberts" userId="b6430d21-8e5e-4d9c-81e9-e1ae515d6d74" providerId="ADAL" clId="{356C853E-D027-4183-864D-1C71215F695F}" dt="2017-12-05T18:19:54.159" v="505" actId="2696"/>
          <ac:spMkLst>
            <pc:docMk/>
            <pc:sldMk cId="3556834676" sldId="336"/>
            <ac:spMk id="172" creationId="{95BA31AE-3F47-401B-9A3C-1BE6E0151BED}"/>
          </ac:spMkLst>
        </pc:spChg>
        <pc:spChg chg="add">
          <ac:chgData name="Andy Roberts" userId="b6430d21-8e5e-4d9c-81e9-e1ae515d6d74" providerId="ADAL" clId="{356C853E-D027-4183-864D-1C71215F695F}" dt="2017-12-05T18:19:54.159" v="505" actId="2696"/>
          <ac:spMkLst>
            <pc:docMk/>
            <pc:sldMk cId="3556834676" sldId="336"/>
            <ac:spMk id="173" creationId="{253B73A4-DE58-481A-AA79-69BF6303A8B3}"/>
          </ac:spMkLst>
        </pc:spChg>
        <pc:spChg chg="add">
          <ac:chgData name="Andy Roberts" userId="b6430d21-8e5e-4d9c-81e9-e1ae515d6d74" providerId="ADAL" clId="{356C853E-D027-4183-864D-1C71215F695F}" dt="2017-12-05T18:19:54.159" v="505" actId="2696"/>
          <ac:spMkLst>
            <pc:docMk/>
            <pc:sldMk cId="3556834676" sldId="336"/>
            <ac:spMk id="174" creationId="{BE511E33-48F2-42AC-9948-A222A4DC8C3E}"/>
          </ac:spMkLst>
        </pc:spChg>
        <pc:spChg chg="add">
          <ac:chgData name="Andy Roberts" userId="b6430d21-8e5e-4d9c-81e9-e1ae515d6d74" providerId="ADAL" clId="{356C853E-D027-4183-864D-1C71215F695F}" dt="2017-12-05T18:19:54.159" v="505" actId="2696"/>
          <ac:spMkLst>
            <pc:docMk/>
            <pc:sldMk cId="3556834676" sldId="336"/>
            <ac:spMk id="180" creationId="{7B995B6D-EE1E-4D79-A357-DAC8D5B62ACB}"/>
          </ac:spMkLst>
        </pc:spChg>
        <pc:spChg chg="add">
          <ac:chgData name="Andy Roberts" userId="b6430d21-8e5e-4d9c-81e9-e1ae515d6d74" providerId="ADAL" clId="{356C853E-D027-4183-864D-1C71215F695F}" dt="2017-12-05T18:19:54.159" v="505" actId="2696"/>
          <ac:spMkLst>
            <pc:docMk/>
            <pc:sldMk cId="3556834676" sldId="336"/>
            <ac:spMk id="181" creationId="{E370ADC0-2F0B-41C5-948F-E9E603968463}"/>
          </ac:spMkLst>
        </pc:spChg>
        <pc:spChg chg="add">
          <ac:chgData name="Andy Roberts" userId="b6430d21-8e5e-4d9c-81e9-e1ae515d6d74" providerId="ADAL" clId="{356C853E-D027-4183-864D-1C71215F695F}" dt="2017-12-05T18:19:54.159" v="505" actId="2696"/>
          <ac:spMkLst>
            <pc:docMk/>
            <pc:sldMk cId="3556834676" sldId="336"/>
            <ac:spMk id="183" creationId="{388108E0-EBF3-4B84-8345-A568014603CC}"/>
          </ac:spMkLst>
        </pc:spChg>
        <pc:spChg chg="add">
          <ac:chgData name="Andy Roberts" userId="b6430d21-8e5e-4d9c-81e9-e1ae515d6d74" providerId="ADAL" clId="{356C853E-D027-4183-864D-1C71215F695F}" dt="2017-12-05T18:19:54.159" v="505" actId="2696"/>
          <ac:spMkLst>
            <pc:docMk/>
            <pc:sldMk cId="3556834676" sldId="336"/>
            <ac:spMk id="194" creationId="{CA0A176A-C0DA-495E-BEBF-4635F2F48AFC}"/>
          </ac:spMkLst>
        </pc:spChg>
        <pc:spChg chg="add">
          <ac:chgData name="Andy Roberts" userId="b6430d21-8e5e-4d9c-81e9-e1ae515d6d74" providerId="ADAL" clId="{356C853E-D027-4183-864D-1C71215F695F}" dt="2017-12-05T18:19:54.159" v="505" actId="2696"/>
          <ac:spMkLst>
            <pc:docMk/>
            <pc:sldMk cId="3556834676" sldId="336"/>
            <ac:spMk id="195" creationId="{B8846387-781F-49E3-8A64-F80BA5CE73BF}"/>
          </ac:spMkLst>
        </pc:spChg>
        <pc:spChg chg="add">
          <ac:chgData name="Andy Roberts" userId="b6430d21-8e5e-4d9c-81e9-e1ae515d6d74" providerId="ADAL" clId="{356C853E-D027-4183-864D-1C71215F695F}" dt="2017-12-05T18:19:54.159" v="505" actId="2696"/>
          <ac:spMkLst>
            <pc:docMk/>
            <pc:sldMk cId="3556834676" sldId="336"/>
            <ac:spMk id="196" creationId="{013593CC-8434-439E-B40B-415B82F4ADD3}"/>
          </ac:spMkLst>
        </pc:spChg>
        <pc:spChg chg="add">
          <ac:chgData name="Andy Roberts" userId="b6430d21-8e5e-4d9c-81e9-e1ae515d6d74" providerId="ADAL" clId="{356C853E-D027-4183-864D-1C71215F695F}" dt="2017-12-05T18:19:54.159" v="505" actId="2696"/>
          <ac:spMkLst>
            <pc:docMk/>
            <pc:sldMk cId="3556834676" sldId="336"/>
            <ac:spMk id="197" creationId="{ECB1AC98-40E2-447D-8849-3FB5C629CF6C}"/>
          </ac:spMkLst>
        </pc:spChg>
        <pc:spChg chg="add">
          <ac:chgData name="Andy Roberts" userId="b6430d21-8e5e-4d9c-81e9-e1ae515d6d74" providerId="ADAL" clId="{356C853E-D027-4183-864D-1C71215F695F}" dt="2017-12-05T18:19:54.159" v="505" actId="2696"/>
          <ac:spMkLst>
            <pc:docMk/>
            <pc:sldMk cId="3556834676" sldId="336"/>
            <ac:spMk id="198" creationId="{A75403C5-1A74-4495-AA6C-B408E1E5FB97}"/>
          </ac:spMkLst>
        </pc:spChg>
        <pc:spChg chg="add">
          <ac:chgData name="Andy Roberts" userId="b6430d21-8e5e-4d9c-81e9-e1ae515d6d74" providerId="ADAL" clId="{356C853E-D027-4183-864D-1C71215F695F}" dt="2017-12-05T18:19:54.159" v="505" actId="2696"/>
          <ac:spMkLst>
            <pc:docMk/>
            <pc:sldMk cId="3556834676" sldId="336"/>
            <ac:spMk id="199" creationId="{EDC0456E-416D-4444-B412-57B83A17C09A}"/>
          </ac:spMkLst>
        </pc:spChg>
        <pc:spChg chg="add">
          <ac:chgData name="Andy Roberts" userId="b6430d21-8e5e-4d9c-81e9-e1ae515d6d74" providerId="ADAL" clId="{356C853E-D027-4183-864D-1C71215F695F}" dt="2017-12-05T18:19:54.159" v="505" actId="2696"/>
          <ac:spMkLst>
            <pc:docMk/>
            <pc:sldMk cId="3556834676" sldId="336"/>
            <ac:spMk id="200" creationId="{53D36D9A-AFF0-4C63-AA02-C36AC6BFD84A}"/>
          </ac:spMkLst>
        </pc:spChg>
        <pc:spChg chg="add">
          <ac:chgData name="Andy Roberts" userId="b6430d21-8e5e-4d9c-81e9-e1ae515d6d74" providerId="ADAL" clId="{356C853E-D027-4183-864D-1C71215F695F}" dt="2017-12-05T18:19:54.159" v="505" actId="2696"/>
          <ac:spMkLst>
            <pc:docMk/>
            <pc:sldMk cId="3556834676" sldId="336"/>
            <ac:spMk id="201" creationId="{2AB36011-3536-4EB9-9C81-AB7CF7B222D2}"/>
          </ac:spMkLst>
        </pc:spChg>
        <pc:spChg chg="add">
          <ac:chgData name="Andy Roberts" userId="b6430d21-8e5e-4d9c-81e9-e1ae515d6d74" providerId="ADAL" clId="{356C853E-D027-4183-864D-1C71215F695F}" dt="2017-12-05T18:19:54.159" v="505" actId="2696"/>
          <ac:spMkLst>
            <pc:docMk/>
            <pc:sldMk cId="3556834676" sldId="336"/>
            <ac:spMk id="202" creationId="{05AB54E7-9A29-4CA8-A46B-7B7E4CBFCB92}"/>
          </ac:spMkLst>
        </pc:spChg>
        <pc:spChg chg="add">
          <ac:chgData name="Andy Roberts" userId="b6430d21-8e5e-4d9c-81e9-e1ae515d6d74" providerId="ADAL" clId="{356C853E-D027-4183-864D-1C71215F695F}" dt="2017-12-05T18:19:54.159" v="505" actId="2696"/>
          <ac:spMkLst>
            <pc:docMk/>
            <pc:sldMk cId="3556834676" sldId="336"/>
            <ac:spMk id="203" creationId="{30B79746-8451-4FD7-B535-40693ABCA409}"/>
          </ac:spMkLst>
        </pc:spChg>
        <pc:spChg chg="add">
          <ac:chgData name="Andy Roberts" userId="b6430d21-8e5e-4d9c-81e9-e1ae515d6d74" providerId="ADAL" clId="{356C853E-D027-4183-864D-1C71215F695F}" dt="2017-12-05T18:19:54.159" v="505" actId="2696"/>
          <ac:spMkLst>
            <pc:docMk/>
            <pc:sldMk cId="3556834676" sldId="336"/>
            <ac:spMk id="204" creationId="{A693F18B-33BD-470C-8157-3339C981343D}"/>
          </ac:spMkLst>
        </pc:spChg>
        <pc:spChg chg="add">
          <ac:chgData name="Andy Roberts" userId="b6430d21-8e5e-4d9c-81e9-e1ae515d6d74" providerId="ADAL" clId="{356C853E-D027-4183-864D-1C71215F695F}" dt="2017-12-05T18:19:54.159" v="505" actId="2696"/>
          <ac:spMkLst>
            <pc:docMk/>
            <pc:sldMk cId="3556834676" sldId="336"/>
            <ac:spMk id="205" creationId="{52520E74-FBD9-4DC8-9BD6-C8F36DDF081D}"/>
          </ac:spMkLst>
        </pc:spChg>
        <pc:spChg chg="add">
          <ac:chgData name="Andy Roberts" userId="b6430d21-8e5e-4d9c-81e9-e1ae515d6d74" providerId="ADAL" clId="{356C853E-D027-4183-864D-1C71215F695F}" dt="2017-12-05T18:19:54.159" v="505" actId="2696"/>
          <ac:spMkLst>
            <pc:docMk/>
            <pc:sldMk cId="3556834676" sldId="336"/>
            <ac:spMk id="206" creationId="{52E9EE58-4C90-4E28-82B6-EB95950E846B}"/>
          </ac:spMkLst>
        </pc:spChg>
        <pc:spChg chg="add">
          <ac:chgData name="Andy Roberts" userId="b6430d21-8e5e-4d9c-81e9-e1ae515d6d74" providerId="ADAL" clId="{356C853E-D027-4183-864D-1C71215F695F}" dt="2017-12-05T18:19:54.159" v="505" actId="2696"/>
          <ac:spMkLst>
            <pc:docMk/>
            <pc:sldMk cId="3556834676" sldId="336"/>
            <ac:spMk id="207" creationId="{6C705455-4A57-40F4-9425-8F95E948EA9F}"/>
          </ac:spMkLst>
        </pc:spChg>
        <pc:spChg chg="add">
          <ac:chgData name="Andy Roberts" userId="b6430d21-8e5e-4d9c-81e9-e1ae515d6d74" providerId="ADAL" clId="{356C853E-D027-4183-864D-1C71215F695F}" dt="2017-12-05T18:19:54.159" v="505" actId="2696"/>
          <ac:spMkLst>
            <pc:docMk/>
            <pc:sldMk cId="3556834676" sldId="336"/>
            <ac:spMk id="208" creationId="{678C3193-E590-4A3B-9AA3-CE063428FCD6}"/>
          </ac:spMkLst>
        </pc:spChg>
        <pc:spChg chg="add">
          <ac:chgData name="Andy Roberts" userId="b6430d21-8e5e-4d9c-81e9-e1ae515d6d74" providerId="ADAL" clId="{356C853E-D027-4183-864D-1C71215F695F}" dt="2017-12-05T18:19:54.159" v="505" actId="2696"/>
          <ac:spMkLst>
            <pc:docMk/>
            <pc:sldMk cId="3556834676" sldId="336"/>
            <ac:spMk id="209" creationId="{BB4D56F6-202B-4FB6-BF73-9C0CA5AE56E3}"/>
          </ac:spMkLst>
        </pc:spChg>
        <pc:spChg chg="add">
          <ac:chgData name="Andy Roberts" userId="b6430d21-8e5e-4d9c-81e9-e1ae515d6d74" providerId="ADAL" clId="{356C853E-D027-4183-864D-1C71215F695F}" dt="2017-12-05T18:19:54.159" v="505" actId="2696"/>
          <ac:spMkLst>
            <pc:docMk/>
            <pc:sldMk cId="3556834676" sldId="336"/>
            <ac:spMk id="210" creationId="{0E7195E9-B744-43A4-A024-8A52B577DFFD}"/>
          </ac:spMkLst>
        </pc:spChg>
        <pc:spChg chg="add">
          <ac:chgData name="Andy Roberts" userId="b6430d21-8e5e-4d9c-81e9-e1ae515d6d74" providerId="ADAL" clId="{356C853E-D027-4183-864D-1C71215F695F}" dt="2017-12-05T18:19:54.159" v="505" actId="2696"/>
          <ac:spMkLst>
            <pc:docMk/>
            <pc:sldMk cId="3556834676" sldId="336"/>
            <ac:spMk id="211" creationId="{1808148C-9FD8-4E47-9FB7-B5AF9FADF81D}"/>
          </ac:spMkLst>
        </pc:spChg>
        <pc:spChg chg="add">
          <ac:chgData name="Andy Roberts" userId="b6430d21-8e5e-4d9c-81e9-e1ae515d6d74" providerId="ADAL" clId="{356C853E-D027-4183-864D-1C71215F695F}" dt="2017-12-05T18:19:54.159" v="505" actId="2696"/>
          <ac:spMkLst>
            <pc:docMk/>
            <pc:sldMk cId="3556834676" sldId="336"/>
            <ac:spMk id="212" creationId="{024E9EEA-9689-4AA1-ADA4-A6D80C1028B3}"/>
          </ac:spMkLst>
        </pc:spChg>
        <pc:spChg chg="add">
          <ac:chgData name="Andy Roberts" userId="b6430d21-8e5e-4d9c-81e9-e1ae515d6d74" providerId="ADAL" clId="{356C853E-D027-4183-864D-1C71215F695F}" dt="2017-12-05T18:19:54.159" v="505" actId="2696"/>
          <ac:spMkLst>
            <pc:docMk/>
            <pc:sldMk cId="3556834676" sldId="336"/>
            <ac:spMk id="213" creationId="{D4DEE529-910D-4651-8C44-D1B3CE32787A}"/>
          </ac:spMkLst>
        </pc:spChg>
        <pc:spChg chg="add">
          <ac:chgData name="Andy Roberts" userId="b6430d21-8e5e-4d9c-81e9-e1ae515d6d74" providerId="ADAL" clId="{356C853E-D027-4183-864D-1C71215F695F}" dt="2017-12-05T18:19:54.159" v="505" actId="2696"/>
          <ac:spMkLst>
            <pc:docMk/>
            <pc:sldMk cId="3556834676" sldId="336"/>
            <ac:spMk id="214" creationId="{5576008C-3943-46C4-8B44-F15A3C3252B0}"/>
          </ac:spMkLst>
        </pc:spChg>
        <pc:spChg chg="add">
          <ac:chgData name="Andy Roberts" userId="b6430d21-8e5e-4d9c-81e9-e1ae515d6d74" providerId="ADAL" clId="{356C853E-D027-4183-864D-1C71215F695F}" dt="2017-12-05T18:19:54.159" v="505" actId="2696"/>
          <ac:spMkLst>
            <pc:docMk/>
            <pc:sldMk cId="3556834676" sldId="336"/>
            <ac:spMk id="215" creationId="{D2377433-A480-4221-A540-C73A6FD5CF24}"/>
          </ac:spMkLst>
        </pc:spChg>
        <pc:spChg chg="add">
          <ac:chgData name="Andy Roberts" userId="b6430d21-8e5e-4d9c-81e9-e1ae515d6d74" providerId="ADAL" clId="{356C853E-D027-4183-864D-1C71215F695F}" dt="2017-12-05T18:19:54.159" v="505" actId="2696"/>
          <ac:spMkLst>
            <pc:docMk/>
            <pc:sldMk cId="3556834676" sldId="336"/>
            <ac:spMk id="216" creationId="{40D250E5-DE77-459B-A94F-D476C79E21FA}"/>
          </ac:spMkLst>
        </pc:spChg>
        <pc:spChg chg="add">
          <ac:chgData name="Andy Roberts" userId="b6430d21-8e5e-4d9c-81e9-e1ae515d6d74" providerId="ADAL" clId="{356C853E-D027-4183-864D-1C71215F695F}" dt="2017-12-05T18:19:54.159" v="505" actId="2696"/>
          <ac:spMkLst>
            <pc:docMk/>
            <pc:sldMk cId="3556834676" sldId="336"/>
            <ac:spMk id="217" creationId="{CF63DD77-9497-424A-B9BA-B13EDFD6C756}"/>
          </ac:spMkLst>
        </pc:spChg>
        <pc:spChg chg="add">
          <ac:chgData name="Andy Roberts" userId="b6430d21-8e5e-4d9c-81e9-e1ae515d6d74" providerId="ADAL" clId="{356C853E-D027-4183-864D-1C71215F695F}" dt="2017-12-05T18:19:54.159" v="505" actId="2696"/>
          <ac:spMkLst>
            <pc:docMk/>
            <pc:sldMk cId="3556834676" sldId="336"/>
            <ac:spMk id="218" creationId="{7DDF9F52-752F-43B3-BADB-A754962A7CA1}"/>
          </ac:spMkLst>
        </pc:spChg>
        <pc:spChg chg="add">
          <ac:chgData name="Andy Roberts" userId="b6430d21-8e5e-4d9c-81e9-e1ae515d6d74" providerId="ADAL" clId="{356C853E-D027-4183-864D-1C71215F695F}" dt="2017-12-05T18:19:54.159" v="505" actId="2696"/>
          <ac:spMkLst>
            <pc:docMk/>
            <pc:sldMk cId="3556834676" sldId="336"/>
            <ac:spMk id="219" creationId="{73D9BB93-BA1A-4E9B-93FD-1B5B1035564F}"/>
          </ac:spMkLst>
        </pc:spChg>
        <pc:spChg chg="add">
          <ac:chgData name="Andy Roberts" userId="b6430d21-8e5e-4d9c-81e9-e1ae515d6d74" providerId="ADAL" clId="{356C853E-D027-4183-864D-1C71215F695F}" dt="2017-12-05T18:19:54.159" v="505" actId="2696"/>
          <ac:spMkLst>
            <pc:docMk/>
            <pc:sldMk cId="3556834676" sldId="336"/>
            <ac:spMk id="220" creationId="{D9B65226-856C-4D39-9A6D-685F0117346E}"/>
          </ac:spMkLst>
        </pc:spChg>
        <pc:spChg chg="add">
          <ac:chgData name="Andy Roberts" userId="b6430d21-8e5e-4d9c-81e9-e1ae515d6d74" providerId="ADAL" clId="{356C853E-D027-4183-864D-1C71215F695F}" dt="2017-12-05T18:19:54.159" v="505" actId="2696"/>
          <ac:spMkLst>
            <pc:docMk/>
            <pc:sldMk cId="3556834676" sldId="336"/>
            <ac:spMk id="221" creationId="{1F5C34E5-4885-4382-94AB-E3B271DF92D6}"/>
          </ac:spMkLst>
        </pc:spChg>
        <pc:spChg chg="add">
          <ac:chgData name="Andy Roberts" userId="b6430d21-8e5e-4d9c-81e9-e1ae515d6d74" providerId="ADAL" clId="{356C853E-D027-4183-864D-1C71215F695F}" dt="2017-12-05T18:19:54.159" v="505" actId="2696"/>
          <ac:spMkLst>
            <pc:docMk/>
            <pc:sldMk cId="3556834676" sldId="336"/>
            <ac:spMk id="222" creationId="{07419A0A-B067-489A-AC34-04F7B07F996F}"/>
          </ac:spMkLst>
        </pc:spChg>
        <pc:spChg chg="add">
          <ac:chgData name="Andy Roberts" userId="b6430d21-8e5e-4d9c-81e9-e1ae515d6d74" providerId="ADAL" clId="{356C853E-D027-4183-864D-1C71215F695F}" dt="2017-12-05T18:19:54.159" v="505" actId="2696"/>
          <ac:spMkLst>
            <pc:docMk/>
            <pc:sldMk cId="3556834676" sldId="336"/>
            <ac:spMk id="223" creationId="{86686C77-C1DD-4E9D-B540-DA276A5145CE}"/>
          </ac:spMkLst>
        </pc:spChg>
        <pc:spChg chg="add">
          <ac:chgData name="Andy Roberts" userId="b6430d21-8e5e-4d9c-81e9-e1ae515d6d74" providerId="ADAL" clId="{356C853E-D027-4183-864D-1C71215F695F}" dt="2017-12-05T18:19:54.159" v="505" actId="2696"/>
          <ac:spMkLst>
            <pc:docMk/>
            <pc:sldMk cId="3556834676" sldId="336"/>
            <ac:spMk id="224" creationId="{47AF5772-2F59-491C-A3CB-135B8CF22172}"/>
          </ac:spMkLst>
        </pc:spChg>
        <pc:spChg chg="add">
          <ac:chgData name="Andy Roberts" userId="b6430d21-8e5e-4d9c-81e9-e1ae515d6d74" providerId="ADAL" clId="{356C853E-D027-4183-864D-1C71215F695F}" dt="2017-12-05T18:19:54.159" v="505" actId="2696"/>
          <ac:spMkLst>
            <pc:docMk/>
            <pc:sldMk cId="3556834676" sldId="336"/>
            <ac:spMk id="225" creationId="{14C322EE-EE6E-46A8-B703-644B261B8889}"/>
          </ac:spMkLst>
        </pc:spChg>
        <pc:spChg chg="add">
          <ac:chgData name="Andy Roberts" userId="b6430d21-8e5e-4d9c-81e9-e1ae515d6d74" providerId="ADAL" clId="{356C853E-D027-4183-864D-1C71215F695F}" dt="2017-12-05T18:19:54.159" v="505" actId="2696"/>
          <ac:spMkLst>
            <pc:docMk/>
            <pc:sldMk cId="3556834676" sldId="336"/>
            <ac:spMk id="226" creationId="{11317EF2-0E0D-45E2-B306-529DBB10EC2D}"/>
          </ac:spMkLst>
        </pc:spChg>
        <pc:spChg chg="add">
          <ac:chgData name="Andy Roberts" userId="b6430d21-8e5e-4d9c-81e9-e1ae515d6d74" providerId="ADAL" clId="{356C853E-D027-4183-864D-1C71215F695F}" dt="2017-12-05T18:19:54.159" v="505" actId="2696"/>
          <ac:spMkLst>
            <pc:docMk/>
            <pc:sldMk cId="3556834676" sldId="336"/>
            <ac:spMk id="227" creationId="{8A4706D9-CEB3-488A-A103-6C5AB1A3042F}"/>
          </ac:spMkLst>
        </pc:spChg>
        <pc:spChg chg="add">
          <ac:chgData name="Andy Roberts" userId="b6430d21-8e5e-4d9c-81e9-e1ae515d6d74" providerId="ADAL" clId="{356C853E-D027-4183-864D-1C71215F695F}" dt="2017-12-05T18:19:54.159" v="505" actId="2696"/>
          <ac:spMkLst>
            <pc:docMk/>
            <pc:sldMk cId="3556834676" sldId="336"/>
            <ac:spMk id="228" creationId="{3EA887D1-5342-44C4-A4E1-071BD43F12E2}"/>
          </ac:spMkLst>
        </pc:spChg>
        <pc:spChg chg="add">
          <ac:chgData name="Andy Roberts" userId="b6430d21-8e5e-4d9c-81e9-e1ae515d6d74" providerId="ADAL" clId="{356C853E-D027-4183-864D-1C71215F695F}" dt="2017-12-05T18:19:54.159" v="505" actId="2696"/>
          <ac:spMkLst>
            <pc:docMk/>
            <pc:sldMk cId="3556834676" sldId="336"/>
            <ac:spMk id="229" creationId="{350F65F3-07F0-49F4-A3AB-6E4317B03BD4}"/>
          </ac:spMkLst>
        </pc:spChg>
        <pc:spChg chg="add">
          <ac:chgData name="Andy Roberts" userId="b6430d21-8e5e-4d9c-81e9-e1ae515d6d74" providerId="ADAL" clId="{356C853E-D027-4183-864D-1C71215F695F}" dt="2017-12-05T18:19:54.159" v="505" actId="2696"/>
          <ac:spMkLst>
            <pc:docMk/>
            <pc:sldMk cId="3556834676" sldId="336"/>
            <ac:spMk id="230" creationId="{6182A1FD-F97D-46E6-91E4-CB466A6C58ED}"/>
          </ac:spMkLst>
        </pc:spChg>
        <pc:spChg chg="add">
          <ac:chgData name="Andy Roberts" userId="b6430d21-8e5e-4d9c-81e9-e1ae515d6d74" providerId="ADAL" clId="{356C853E-D027-4183-864D-1C71215F695F}" dt="2017-12-05T18:19:54.159" v="505" actId="2696"/>
          <ac:spMkLst>
            <pc:docMk/>
            <pc:sldMk cId="3556834676" sldId="336"/>
            <ac:spMk id="231" creationId="{DA2E380F-039A-4AF8-BA35-E9E9692E01D7}"/>
          </ac:spMkLst>
        </pc:spChg>
        <pc:spChg chg="add">
          <ac:chgData name="Andy Roberts" userId="b6430d21-8e5e-4d9c-81e9-e1ae515d6d74" providerId="ADAL" clId="{356C853E-D027-4183-864D-1C71215F695F}" dt="2017-12-05T18:19:54.159" v="505" actId="2696"/>
          <ac:spMkLst>
            <pc:docMk/>
            <pc:sldMk cId="3556834676" sldId="336"/>
            <ac:spMk id="232" creationId="{BA270817-B7F4-48A6-9053-B709F4433FC6}"/>
          </ac:spMkLst>
        </pc:spChg>
        <pc:spChg chg="add">
          <ac:chgData name="Andy Roberts" userId="b6430d21-8e5e-4d9c-81e9-e1ae515d6d74" providerId="ADAL" clId="{356C853E-D027-4183-864D-1C71215F695F}" dt="2017-12-05T18:19:54.159" v="505" actId="2696"/>
          <ac:spMkLst>
            <pc:docMk/>
            <pc:sldMk cId="3556834676" sldId="336"/>
            <ac:spMk id="233" creationId="{47A10DF5-A5F1-42AE-B44C-E34DCB5A6E9E}"/>
          </ac:spMkLst>
        </pc:spChg>
        <pc:spChg chg="add">
          <ac:chgData name="Andy Roberts" userId="b6430d21-8e5e-4d9c-81e9-e1ae515d6d74" providerId="ADAL" clId="{356C853E-D027-4183-864D-1C71215F695F}" dt="2017-12-05T18:19:54.159" v="505" actId="2696"/>
          <ac:spMkLst>
            <pc:docMk/>
            <pc:sldMk cId="3556834676" sldId="336"/>
            <ac:spMk id="234" creationId="{5B379875-B2C5-486E-BF11-0363BD58E5F4}"/>
          </ac:spMkLst>
        </pc:spChg>
        <pc:spChg chg="add">
          <ac:chgData name="Andy Roberts" userId="b6430d21-8e5e-4d9c-81e9-e1ae515d6d74" providerId="ADAL" clId="{356C853E-D027-4183-864D-1C71215F695F}" dt="2017-12-05T18:19:54.159" v="505" actId="2696"/>
          <ac:spMkLst>
            <pc:docMk/>
            <pc:sldMk cId="3556834676" sldId="336"/>
            <ac:spMk id="235" creationId="{8D5AC252-356B-4C83-B052-9D8907022941}"/>
          </ac:spMkLst>
        </pc:spChg>
        <pc:spChg chg="add">
          <ac:chgData name="Andy Roberts" userId="b6430d21-8e5e-4d9c-81e9-e1ae515d6d74" providerId="ADAL" clId="{356C853E-D027-4183-864D-1C71215F695F}" dt="2017-12-05T18:19:54.159" v="505" actId="2696"/>
          <ac:spMkLst>
            <pc:docMk/>
            <pc:sldMk cId="3556834676" sldId="336"/>
            <ac:spMk id="236" creationId="{08EA1E10-C644-485C-BF10-4CBB487F1962}"/>
          </ac:spMkLst>
        </pc:spChg>
        <pc:spChg chg="add">
          <ac:chgData name="Andy Roberts" userId="b6430d21-8e5e-4d9c-81e9-e1ae515d6d74" providerId="ADAL" clId="{356C853E-D027-4183-864D-1C71215F695F}" dt="2017-12-05T18:19:54.159" v="505" actId="2696"/>
          <ac:spMkLst>
            <pc:docMk/>
            <pc:sldMk cId="3556834676" sldId="336"/>
            <ac:spMk id="237" creationId="{4AB62DAE-56E4-4FE4-AA0F-2539F75E4485}"/>
          </ac:spMkLst>
        </pc:spChg>
        <pc:spChg chg="add">
          <ac:chgData name="Andy Roberts" userId="b6430d21-8e5e-4d9c-81e9-e1ae515d6d74" providerId="ADAL" clId="{356C853E-D027-4183-864D-1C71215F695F}" dt="2017-12-05T18:19:54.159" v="505" actId="2696"/>
          <ac:spMkLst>
            <pc:docMk/>
            <pc:sldMk cId="3556834676" sldId="336"/>
            <ac:spMk id="238" creationId="{3E936BCF-E1E0-4931-BDC5-BEFA97ED1FA0}"/>
          </ac:spMkLst>
        </pc:spChg>
        <pc:spChg chg="add">
          <ac:chgData name="Andy Roberts" userId="b6430d21-8e5e-4d9c-81e9-e1ae515d6d74" providerId="ADAL" clId="{356C853E-D027-4183-864D-1C71215F695F}" dt="2017-12-05T18:19:54.159" v="505" actId="2696"/>
          <ac:spMkLst>
            <pc:docMk/>
            <pc:sldMk cId="3556834676" sldId="336"/>
            <ac:spMk id="239" creationId="{72D9DF6F-4446-4242-B9D1-A46D6750716D}"/>
          </ac:spMkLst>
        </pc:spChg>
        <pc:spChg chg="add">
          <ac:chgData name="Andy Roberts" userId="b6430d21-8e5e-4d9c-81e9-e1ae515d6d74" providerId="ADAL" clId="{356C853E-D027-4183-864D-1C71215F695F}" dt="2017-12-05T18:19:54.159" v="505" actId="2696"/>
          <ac:spMkLst>
            <pc:docMk/>
            <pc:sldMk cId="3556834676" sldId="336"/>
            <ac:spMk id="240" creationId="{FDE3B0AB-3BEB-4B82-B461-D521DE779975}"/>
          </ac:spMkLst>
        </pc:spChg>
        <pc:spChg chg="add">
          <ac:chgData name="Andy Roberts" userId="b6430d21-8e5e-4d9c-81e9-e1ae515d6d74" providerId="ADAL" clId="{356C853E-D027-4183-864D-1C71215F695F}" dt="2017-12-05T18:19:54.159" v="505" actId="2696"/>
          <ac:spMkLst>
            <pc:docMk/>
            <pc:sldMk cId="3556834676" sldId="336"/>
            <ac:spMk id="241" creationId="{EC11677D-699D-4668-A2FE-AD4CD02D484D}"/>
          </ac:spMkLst>
        </pc:spChg>
        <pc:spChg chg="add">
          <ac:chgData name="Andy Roberts" userId="b6430d21-8e5e-4d9c-81e9-e1ae515d6d74" providerId="ADAL" clId="{356C853E-D027-4183-864D-1C71215F695F}" dt="2017-12-05T18:19:54.159" v="505" actId="2696"/>
          <ac:spMkLst>
            <pc:docMk/>
            <pc:sldMk cId="3556834676" sldId="336"/>
            <ac:spMk id="242" creationId="{5A9D95DD-9E4F-4E14-8106-2D857FC87AC2}"/>
          </ac:spMkLst>
        </pc:spChg>
        <pc:spChg chg="add">
          <ac:chgData name="Andy Roberts" userId="b6430d21-8e5e-4d9c-81e9-e1ae515d6d74" providerId="ADAL" clId="{356C853E-D027-4183-864D-1C71215F695F}" dt="2017-12-05T18:19:54.159" v="505" actId="2696"/>
          <ac:spMkLst>
            <pc:docMk/>
            <pc:sldMk cId="3556834676" sldId="336"/>
            <ac:spMk id="243" creationId="{37154589-CE43-4390-A718-989AB7B36486}"/>
          </ac:spMkLst>
        </pc:spChg>
        <pc:spChg chg="add">
          <ac:chgData name="Andy Roberts" userId="b6430d21-8e5e-4d9c-81e9-e1ae515d6d74" providerId="ADAL" clId="{356C853E-D027-4183-864D-1C71215F695F}" dt="2017-12-05T18:19:54.159" v="505" actId="2696"/>
          <ac:spMkLst>
            <pc:docMk/>
            <pc:sldMk cId="3556834676" sldId="336"/>
            <ac:spMk id="244" creationId="{DEDD237D-98FB-47AD-BAF2-A6FBFEF721B6}"/>
          </ac:spMkLst>
        </pc:spChg>
        <pc:spChg chg="add">
          <ac:chgData name="Andy Roberts" userId="b6430d21-8e5e-4d9c-81e9-e1ae515d6d74" providerId="ADAL" clId="{356C853E-D027-4183-864D-1C71215F695F}" dt="2017-12-05T18:19:54.159" v="505" actId="2696"/>
          <ac:spMkLst>
            <pc:docMk/>
            <pc:sldMk cId="3556834676" sldId="336"/>
            <ac:spMk id="245" creationId="{07538FC8-922D-461D-9C81-5093A104C258}"/>
          </ac:spMkLst>
        </pc:spChg>
        <pc:spChg chg="add">
          <ac:chgData name="Andy Roberts" userId="b6430d21-8e5e-4d9c-81e9-e1ae515d6d74" providerId="ADAL" clId="{356C853E-D027-4183-864D-1C71215F695F}" dt="2017-12-05T18:19:54.159" v="505" actId="2696"/>
          <ac:spMkLst>
            <pc:docMk/>
            <pc:sldMk cId="3556834676" sldId="336"/>
            <ac:spMk id="246" creationId="{E409115F-5BA2-4B88-9AB4-AE777FB6474B}"/>
          </ac:spMkLst>
        </pc:spChg>
        <pc:spChg chg="add">
          <ac:chgData name="Andy Roberts" userId="b6430d21-8e5e-4d9c-81e9-e1ae515d6d74" providerId="ADAL" clId="{356C853E-D027-4183-864D-1C71215F695F}" dt="2017-12-05T18:19:54.159" v="505" actId="2696"/>
          <ac:spMkLst>
            <pc:docMk/>
            <pc:sldMk cId="3556834676" sldId="336"/>
            <ac:spMk id="247" creationId="{F38F7688-6411-4901-B2F3-0978056BB958}"/>
          </ac:spMkLst>
        </pc:spChg>
        <pc:spChg chg="add">
          <ac:chgData name="Andy Roberts" userId="b6430d21-8e5e-4d9c-81e9-e1ae515d6d74" providerId="ADAL" clId="{356C853E-D027-4183-864D-1C71215F695F}" dt="2017-12-05T18:19:54.159" v="505" actId="2696"/>
          <ac:spMkLst>
            <pc:docMk/>
            <pc:sldMk cId="3556834676" sldId="336"/>
            <ac:spMk id="248" creationId="{2E395DFE-247F-43C9-8D3B-3A6DA39F3BB4}"/>
          </ac:spMkLst>
        </pc:spChg>
        <pc:spChg chg="add">
          <ac:chgData name="Andy Roberts" userId="b6430d21-8e5e-4d9c-81e9-e1ae515d6d74" providerId="ADAL" clId="{356C853E-D027-4183-864D-1C71215F695F}" dt="2017-12-05T18:19:54.159" v="505" actId="2696"/>
          <ac:spMkLst>
            <pc:docMk/>
            <pc:sldMk cId="3556834676" sldId="336"/>
            <ac:spMk id="249" creationId="{F594D032-9022-4A78-960C-0B5E9667AF02}"/>
          </ac:spMkLst>
        </pc:spChg>
        <pc:spChg chg="add">
          <ac:chgData name="Andy Roberts" userId="b6430d21-8e5e-4d9c-81e9-e1ae515d6d74" providerId="ADAL" clId="{356C853E-D027-4183-864D-1C71215F695F}" dt="2017-12-05T18:19:54.159" v="505" actId="2696"/>
          <ac:spMkLst>
            <pc:docMk/>
            <pc:sldMk cId="3556834676" sldId="336"/>
            <ac:spMk id="250" creationId="{497B369B-A656-491B-B09B-E46BE3AFDDBA}"/>
          </ac:spMkLst>
        </pc:spChg>
        <pc:spChg chg="add">
          <ac:chgData name="Andy Roberts" userId="b6430d21-8e5e-4d9c-81e9-e1ae515d6d74" providerId="ADAL" clId="{356C853E-D027-4183-864D-1C71215F695F}" dt="2017-12-05T18:19:54.159" v="505" actId="2696"/>
          <ac:spMkLst>
            <pc:docMk/>
            <pc:sldMk cId="3556834676" sldId="336"/>
            <ac:spMk id="251" creationId="{86992317-7AA2-43A2-A03A-8DE9C3E2DFA2}"/>
          </ac:spMkLst>
        </pc:spChg>
        <pc:spChg chg="add">
          <ac:chgData name="Andy Roberts" userId="b6430d21-8e5e-4d9c-81e9-e1ae515d6d74" providerId="ADAL" clId="{356C853E-D027-4183-864D-1C71215F695F}" dt="2017-12-05T18:19:54.159" v="505" actId="2696"/>
          <ac:spMkLst>
            <pc:docMk/>
            <pc:sldMk cId="3556834676" sldId="336"/>
            <ac:spMk id="252" creationId="{BD05AA06-C9D8-4E78-8BD2-6243E7EEC2D0}"/>
          </ac:spMkLst>
        </pc:spChg>
        <pc:spChg chg="add">
          <ac:chgData name="Andy Roberts" userId="b6430d21-8e5e-4d9c-81e9-e1ae515d6d74" providerId="ADAL" clId="{356C853E-D027-4183-864D-1C71215F695F}" dt="2017-12-05T18:19:54.159" v="505" actId="2696"/>
          <ac:spMkLst>
            <pc:docMk/>
            <pc:sldMk cId="3556834676" sldId="336"/>
            <ac:spMk id="253" creationId="{675E7E60-9335-40CA-8BE9-DE13F0097E9F}"/>
          </ac:spMkLst>
        </pc:spChg>
        <pc:spChg chg="add">
          <ac:chgData name="Andy Roberts" userId="b6430d21-8e5e-4d9c-81e9-e1ae515d6d74" providerId="ADAL" clId="{356C853E-D027-4183-864D-1C71215F695F}" dt="2017-12-05T18:19:54.159" v="505" actId="2696"/>
          <ac:spMkLst>
            <pc:docMk/>
            <pc:sldMk cId="3556834676" sldId="336"/>
            <ac:spMk id="254" creationId="{624F81FD-D5A7-4C6D-9860-4B02B2D017D2}"/>
          </ac:spMkLst>
        </pc:spChg>
        <pc:spChg chg="add">
          <ac:chgData name="Andy Roberts" userId="b6430d21-8e5e-4d9c-81e9-e1ae515d6d74" providerId="ADAL" clId="{356C853E-D027-4183-864D-1C71215F695F}" dt="2017-12-05T18:19:54.159" v="505" actId="2696"/>
          <ac:spMkLst>
            <pc:docMk/>
            <pc:sldMk cId="3556834676" sldId="336"/>
            <ac:spMk id="255" creationId="{3FF2EE35-36C4-42FE-8B2F-4D9B298FFAE4}"/>
          </ac:spMkLst>
        </pc:spChg>
        <pc:spChg chg="add">
          <ac:chgData name="Andy Roberts" userId="b6430d21-8e5e-4d9c-81e9-e1ae515d6d74" providerId="ADAL" clId="{356C853E-D027-4183-864D-1C71215F695F}" dt="2017-12-05T18:19:54.159" v="505" actId="2696"/>
          <ac:spMkLst>
            <pc:docMk/>
            <pc:sldMk cId="3556834676" sldId="336"/>
            <ac:spMk id="256" creationId="{F352C2F3-A571-496A-9A38-478C59532F66}"/>
          </ac:spMkLst>
        </pc:spChg>
        <pc:spChg chg="add">
          <ac:chgData name="Andy Roberts" userId="b6430d21-8e5e-4d9c-81e9-e1ae515d6d74" providerId="ADAL" clId="{356C853E-D027-4183-864D-1C71215F695F}" dt="2017-12-05T18:19:54.159" v="505" actId="2696"/>
          <ac:spMkLst>
            <pc:docMk/>
            <pc:sldMk cId="3556834676" sldId="336"/>
            <ac:spMk id="257" creationId="{452E27E6-F76D-43F3-8675-C9B7C290FC04}"/>
          </ac:spMkLst>
        </pc:spChg>
        <pc:spChg chg="add">
          <ac:chgData name="Andy Roberts" userId="b6430d21-8e5e-4d9c-81e9-e1ae515d6d74" providerId="ADAL" clId="{356C853E-D027-4183-864D-1C71215F695F}" dt="2017-12-05T18:19:54.159" v="505" actId="2696"/>
          <ac:spMkLst>
            <pc:docMk/>
            <pc:sldMk cId="3556834676" sldId="336"/>
            <ac:spMk id="258" creationId="{2FC224E8-4AFD-42C2-8385-32A2367E1F33}"/>
          </ac:spMkLst>
        </pc:spChg>
        <pc:spChg chg="add">
          <ac:chgData name="Andy Roberts" userId="b6430d21-8e5e-4d9c-81e9-e1ae515d6d74" providerId="ADAL" clId="{356C853E-D027-4183-864D-1C71215F695F}" dt="2017-12-05T18:19:54.159" v="505" actId="2696"/>
          <ac:spMkLst>
            <pc:docMk/>
            <pc:sldMk cId="3556834676" sldId="336"/>
            <ac:spMk id="259" creationId="{0A84D7A3-11AC-4B19-946B-F9A7E84DE550}"/>
          </ac:spMkLst>
        </pc:spChg>
        <pc:spChg chg="add">
          <ac:chgData name="Andy Roberts" userId="b6430d21-8e5e-4d9c-81e9-e1ae515d6d74" providerId="ADAL" clId="{356C853E-D027-4183-864D-1C71215F695F}" dt="2017-12-05T18:19:54.159" v="505" actId="2696"/>
          <ac:spMkLst>
            <pc:docMk/>
            <pc:sldMk cId="3556834676" sldId="336"/>
            <ac:spMk id="260" creationId="{7750E3EC-5095-467C-8F86-E45764943D17}"/>
          </ac:spMkLst>
        </pc:spChg>
        <pc:spChg chg="add">
          <ac:chgData name="Andy Roberts" userId="b6430d21-8e5e-4d9c-81e9-e1ae515d6d74" providerId="ADAL" clId="{356C853E-D027-4183-864D-1C71215F695F}" dt="2017-12-05T18:19:54.159" v="505" actId="2696"/>
          <ac:spMkLst>
            <pc:docMk/>
            <pc:sldMk cId="3556834676" sldId="336"/>
            <ac:spMk id="261" creationId="{296F1669-8349-4682-88FF-2A3BD81797E7}"/>
          </ac:spMkLst>
        </pc:spChg>
        <pc:spChg chg="add">
          <ac:chgData name="Andy Roberts" userId="b6430d21-8e5e-4d9c-81e9-e1ae515d6d74" providerId="ADAL" clId="{356C853E-D027-4183-864D-1C71215F695F}" dt="2017-12-05T18:19:54.159" v="505" actId="2696"/>
          <ac:spMkLst>
            <pc:docMk/>
            <pc:sldMk cId="3556834676" sldId="336"/>
            <ac:spMk id="262" creationId="{26C4B5EE-99D5-4A84-A777-2832FEE241C0}"/>
          </ac:spMkLst>
        </pc:spChg>
        <pc:spChg chg="add">
          <ac:chgData name="Andy Roberts" userId="b6430d21-8e5e-4d9c-81e9-e1ae515d6d74" providerId="ADAL" clId="{356C853E-D027-4183-864D-1C71215F695F}" dt="2017-12-05T18:19:54.159" v="505" actId="2696"/>
          <ac:spMkLst>
            <pc:docMk/>
            <pc:sldMk cId="3556834676" sldId="336"/>
            <ac:spMk id="263" creationId="{136E3811-D614-466A-AE7B-B71C8E9DD601}"/>
          </ac:spMkLst>
        </pc:spChg>
        <pc:spChg chg="add">
          <ac:chgData name="Andy Roberts" userId="b6430d21-8e5e-4d9c-81e9-e1ae515d6d74" providerId="ADAL" clId="{356C853E-D027-4183-864D-1C71215F695F}" dt="2017-12-05T18:19:54.159" v="505" actId="2696"/>
          <ac:spMkLst>
            <pc:docMk/>
            <pc:sldMk cId="3556834676" sldId="336"/>
            <ac:spMk id="264" creationId="{45F3BFD7-D45D-463B-B3AC-28DF582624AF}"/>
          </ac:spMkLst>
        </pc:spChg>
        <pc:spChg chg="add">
          <ac:chgData name="Andy Roberts" userId="b6430d21-8e5e-4d9c-81e9-e1ae515d6d74" providerId="ADAL" clId="{356C853E-D027-4183-864D-1C71215F695F}" dt="2017-12-05T18:19:54.159" v="505" actId="2696"/>
          <ac:spMkLst>
            <pc:docMk/>
            <pc:sldMk cId="3556834676" sldId="336"/>
            <ac:spMk id="265" creationId="{D29ABF6E-8336-4F78-8022-269577BA610E}"/>
          </ac:spMkLst>
        </pc:spChg>
        <pc:spChg chg="add">
          <ac:chgData name="Andy Roberts" userId="b6430d21-8e5e-4d9c-81e9-e1ae515d6d74" providerId="ADAL" clId="{356C853E-D027-4183-864D-1C71215F695F}" dt="2017-12-05T18:19:54.159" v="505" actId="2696"/>
          <ac:spMkLst>
            <pc:docMk/>
            <pc:sldMk cId="3556834676" sldId="336"/>
            <ac:spMk id="266" creationId="{128365E6-7B69-44C4-BAE6-406DC18B67A5}"/>
          </ac:spMkLst>
        </pc:spChg>
        <pc:spChg chg="add">
          <ac:chgData name="Andy Roberts" userId="b6430d21-8e5e-4d9c-81e9-e1ae515d6d74" providerId="ADAL" clId="{356C853E-D027-4183-864D-1C71215F695F}" dt="2017-12-05T18:19:54.159" v="505" actId="2696"/>
          <ac:spMkLst>
            <pc:docMk/>
            <pc:sldMk cId="3556834676" sldId="336"/>
            <ac:spMk id="267" creationId="{9CD3D034-0029-4DF9-968E-715CCDB456B8}"/>
          </ac:spMkLst>
        </pc:spChg>
        <pc:spChg chg="add">
          <ac:chgData name="Andy Roberts" userId="b6430d21-8e5e-4d9c-81e9-e1ae515d6d74" providerId="ADAL" clId="{356C853E-D027-4183-864D-1C71215F695F}" dt="2017-12-05T18:19:54.159" v="505" actId="2696"/>
          <ac:spMkLst>
            <pc:docMk/>
            <pc:sldMk cId="3556834676" sldId="336"/>
            <ac:spMk id="268" creationId="{60C7EBCA-F37A-4C8E-BE8A-C996AB412F02}"/>
          </ac:spMkLst>
        </pc:spChg>
        <pc:spChg chg="add">
          <ac:chgData name="Andy Roberts" userId="b6430d21-8e5e-4d9c-81e9-e1ae515d6d74" providerId="ADAL" clId="{356C853E-D027-4183-864D-1C71215F695F}" dt="2017-12-05T18:19:54.159" v="505" actId="2696"/>
          <ac:spMkLst>
            <pc:docMk/>
            <pc:sldMk cId="3556834676" sldId="336"/>
            <ac:spMk id="269" creationId="{B6C3B1A1-5EB6-4853-BEF9-7CE2E6ED43AC}"/>
          </ac:spMkLst>
        </pc:spChg>
        <pc:spChg chg="add">
          <ac:chgData name="Andy Roberts" userId="b6430d21-8e5e-4d9c-81e9-e1ae515d6d74" providerId="ADAL" clId="{356C853E-D027-4183-864D-1C71215F695F}" dt="2017-12-05T18:19:54.159" v="505" actId="2696"/>
          <ac:spMkLst>
            <pc:docMk/>
            <pc:sldMk cId="3556834676" sldId="336"/>
            <ac:spMk id="270" creationId="{B512285F-25EC-4A08-A3D0-F01978CDC7A4}"/>
          </ac:spMkLst>
        </pc:spChg>
        <pc:spChg chg="add">
          <ac:chgData name="Andy Roberts" userId="b6430d21-8e5e-4d9c-81e9-e1ae515d6d74" providerId="ADAL" clId="{356C853E-D027-4183-864D-1C71215F695F}" dt="2017-12-05T18:19:54.159" v="505" actId="2696"/>
          <ac:spMkLst>
            <pc:docMk/>
            <pc:sldMk cId="3556834676" sldId="336"/>
            <ac:spMk id="271" creationId="{BA2BD50F-290B-456A-B025-08E1069553D1}"/>
          </ac:spMkLst>
        </pc:spChg>
        <pc:spChg chg="add">
          <ac:chgData name="Andy Roberts" userId="b6430d21-8e5e-4d9c-81e9-e1ae515d6d74" providerId="ADAL" clId="{356C853E-D027-4183-864D-1C71215F695F}" dt="2017-12-05T18:19:54.159" v="505" actId="2696"/>
          <ac:spMkLst>
            <pc:docMk/>
            <pc:sldMk cId="3556834676" sldId="336"/>
            <ac:spMk id="272" creationId="{9BDDDA48-0ECF-4D72-B116-29C25D841B79}"/>
          </ac:spMkLst>
        </pc:spChg>
        <pc:spChg chg="add">
          <ac:chgData name="Andy Roberts" userId="b6430d21-8e5e-4d9c-81e9-e1ae515d6d74" providerId="ADAL" clId="{356C853E-D027-4183-864D-1C71215F695F}" dt="2017-12-05T18:19:54.159" v="505" actId="2696"/>
          <ac:spMkLst>
            <pc:docMk/>
            <pc:sldMk cId="3556834676" sldId="336"/>
            <ac:spMk id="273" creationId="{F2F66BE4-31E7-4F7F-95AA-F34721BC5D85}"/>
          </ac:spMkLst>
        </pc:spChg>
        <pc:spChg chg="add">
          <ac:chgData name="Andy Roberts" userId="b6430d21-8e5e-4d9c-81e9-e1ae515d6d74" providerId="ADAL" clId="{356C853E-D027-4183-864D-1C71215F695F}" dt="2017-12-05T18:19:54.159" v="505" actId="2696"/>
          <ac:spMkLst>
            <pc:docMk/>
            <pc:sldMk cId="3556834676" sldId="336"/>
            <ac:spMk id="274" creationId="{E1782458-961D-4863-9892-0B8106C0E8E0}"/>
          </ac:spMkLst>
        </pc:spChg>
        <pc:spChg chg="add">
          <ac:chgData name="Andy Roberts" userId="b6430d21-8e5e-4d9c-81e9-e1ae515d6d74" providerId="ADAL" clId="{356C853E-D027-4183-864D-1C71215F695F}" dt="2017-12-05T18:19:54.159" v="505" actId="2696"/>
          <ac:spMkLst>
            <pc:docMk/>
            <pc:sldMk cId="3556834676" sldId="336"/>
            <ac:spMk id="275" creationId="{6DD6BA6C-0462-4E3D-BE83-C41C62D83641}"/>
          </ac:spMkLst>
        </pc:spChg>
        <pc:spChg chg="add">
          <ac:chgData name="Andy Roberts" userId="b6430d21-8e5e-4d9c-81e9-e1ae515d6d74" providerId="ADAL" clId="{356C853E-D027-4183-864D-1C71215F695F}" dt="2017-12-05T18:19:54.159" v="505" actId="2696"/>
          <ac:spMkLst>
            <pc:docMk/>
            <pc:sldMk cId="3556834676" sldId="336"/>
            <ac:spMk id="276" creationId="{7819990B-6224-4220-93B0-57803FC20F24}"/>
          </ac:spMkLst>
        </pc:spChg>
        <pc:spChg chg="add">
          <ac:chgData name="Andy Roberts" userId="b6430d21-8e5e-4d9c-81e9-e1ae515d6d74" providerId="ADAL" clId="{356C853E-D027-4183-864D-1C71215F695F}" dt="2017-12-05T18:19:54.159" v="505" actId="2696"/>
          <ac:spMkLst>
            <pc:docMk/>
            <pc:sldMk cId="3556834676" sldId="336"/>
            <ac:spMk id="277" creationId="{898546E9-1E4B-4184-BAC3-2633E0DD6E13}"/>
          </ac:spMkLst>
        </pc:spChg>
        <pc:spChg chg="add">
          <ac:chgData name="Andy Roberts" userId="b6430d21-8e5e-4d9c-81e9-e1ae515d6d74" providerId="ADAL" clId="{356C853E-D027-4183-864D-1C71215F695F}" dt="2017-12-05T18:19:54.159" v="505" actId="2696"/>
          <ac:spMkLst>
            <pc:docMk/>
            <pc:sldMk cId="3556834676" sldId="336"/>
            <ac:spMk id="278" creationId="{AF200A1E-A49A-4216-9B3E-FC841B234D8C}"/>
          </ac:spMkLst>
        </pc:spChg>
        <pc:spChg chg="add">
          <ac:chgData name="Andy Roberts" userId="b6430d21-8e5e-4d9c-81e9-e1ae515d6d74" providerId="ADAL" clId="{356C853E-D027-4183-864D-1C71215F695F}" dt="2017-12-05T18:19:54.159" v="505" actId="2696"/>
          <ac:spMkLst>
            <pc:docMk/>
            <pc:sldMk cId="3556834676" sldId="336"/>
            <ac:spMk id="279" creationId="{39B8402A-4BED-45F5-BCA5-A2AFB2AC04C2}"/>
          </ac:spMkLst>
        </pc:spChg>
        <pc:spChg chg="add">
          <ac:chgData name="Andy Roberts" userId="b6430d21-8e5e-4d9c-81e9-e1ae515d6d74" providerId="ADAL" clId="{356C853E-D027-4183-864D-1C71215F695F}" dt="2017-12-05T18:19:54.159" v="505" actId="2696"/>
          <ac:spMkLst>
            <pc:docMk/>
            <pc:sldMk cId="3556834676" sldId="336"/>
            <ac:spMk id="280" creationId="{E18291BB-DFBA-4AFE-8506-F4CB56FE2E60}"/>
          </ac:spMkLst>
        </pc:spChg>
        <pc:spChg chg="add">
          <ac:chgData name="Andy Roberts" userId="b6430d21-8e5e-4d9c-81e9-e1ae515d6d74" providerId="ADAL" clId="{356C853E-D027-4183-864D-1C71215F695F}" dt="2017-12-05T18:19:54.159" v="505" actId="2696"/>
          <ac:spMkLst>
            <pc:docMk/>
            <pc:sldMk cId="3556834676" sldId="336"/>
            <ac:spMk id="281" creationId="{A71FE51A-FE1E-4ED2-927A-BFEA13468D75}"/>
          </ac:spMkLst>
        </pc:spChg>
        <pc:spChg chg="add">
          <ac:chgData name="Andy Roberts" userId="b6430d21-8e5e-4d9c-81e9-e1ae515d6d74" providerId="ADAL" clId="{356C853E-D027-4183-864D-1C71215F695F}" dt="2017-12-05T18:19:54.159" v="505" actId="2696"/>
          <ac:spMkLst>
            <pc:docMk/>
            <pc:sldMk cId="3556834676" sldId="336"/>
            <ac:spMk id="282" creationId="{82527172-3C3B-4C1E-995F-05A5AE7D7FB2}"/>
          </ac:spMkLst>
        </pc:spChg>
        <pc:spChg chg="add">
          <ac:chgData name="Andy Roberts" userId="b6430d21-8e5e-4d9c-81e9-e1ae515d6d74" providerId="ADAL" clId="{356C853E-D027-4183-864D-1C71215F695F}" dt="2017-12-05T18:19:54.159" v="505" actId="2696"/>
          <ac:spMkLst>
            <pc:docMk/>
            <pc:sldMk cId="3556834676" sldId="336"/>
            <ac:spMk id="283" creationId="{B5B13047-0A81-4C16-B919-630F76B7C317}"/>
          </ac:spMkLst>
        </pc:spChg>
        <pc:spChg chg="add">
          <ac:chgData name="Andy Roberts" userId="b6430d21-8e5e-4d9c-81e9-e1ae515d6d74" providerId="ADAL" clId="{356C853E-D027-4183-864D-1C71215F695F}" dt="2017-12-05T18:19:54.159" v="505" actId="2696"/>
          <ac:spMkLst>
            <pc:docMk/>
            <pc:sldMk cId="3556834676" sldId="336"/>
            <ac:spMk id="284" creationId="{1B9550CE-AE4E-4763-8CF4-1400D4968E42}"/>
          </ac:spMkLst>
        </pc:spChg>
        <pc:spChg chg="add">
          <ac:chgData name="Andy Roberts" userId="b6430d21-8e5e-4d9c-81e9-e1ae515d6d74" providerId="ADAL" clId="{356C853E-D027-4183-864D-1C71215F695F}" dt="2017-12-05T18:19:54.159" v="505" actId="2696"/>
          <ac:spMkLst>
            <pc:docMk/>
            <pc:sldMk cId="3556834676" sldId="336"/>
            <ac:spMk id="285" creationId="{FA38F423-FCE3-4F72-B18E-67702E6B052A}"/>
          </ac:spMkLst>
        </pc:spChg>
        <pc:spChg chg="add">
          <ac:chgData name="Andy Roberts" userId="b6430d21-8e5e-4d9c-81e9-e1ae515d6d74" providerId="ADAL" clId="{356C853E-D027-4183-864D-1C71215F695F}" dt="2017-12-05T18:19:54.159" v="505" actId="2696"/>
          <ac:spMkLst>
            <pc:docMk/>
            <pc:sldMk cId="3556834676" sldId="336"/>
            <ac:spMk id="286" creationId="{9078117D-6CBC-4848-8B2E-B18AB833E9F2}"/>
          </ac:spMkLst>
        </pc:spChg>
        <pc:spChg chg="add">
          <ac:chgData name="Andy Roberts" userId="b6430d21-8e5e-4d9c-81e9-e1ae515d6d74" providerId="ADAL" clId="{356C853E-D027-4183-864D-1C71215F695F}" dt="2017-12-05T18:19:54.159" v="505" actId="2696"/>
          <ac:spMkLst>
            <pc:docMk/>
            <pc:sldMk cId="3556834676" sldId="336"/>
            <ac:spMk id="287" creationId="{6FB3D269-DB05-4156-8C68-709CDF32B1EF}"/>
          </ac:spMkLst>
        </pc:spChg>
        <pc:spChg chg="add">
          <ac:chgData name="Andy Roberts" userId="b6430d21-8e5e-4d9c-81e9-e1ae515d6d74" providerId="ADAL" clId="{356C853E-D027-4183-864D-1C71215F695F}" dt="2017-12-05T18:19:54.159" v="505" actId="2696"/>
          <ac:spMkLst>
            <pc:docMk/>
            <pc:sldMk cId="3556834676" sldId="336"/>
            <ac:spMk id="288" creationId="{48486FDE-C241-4A83-969B-A35BB1FF0438}"/>
          </ac:spMkLst>
        </pc:spChg>
        <pc:spChg chg="add">
          <ac:chgData name="Andy Roberts" userId="b6430d21-8e5e-4d9c-81e9-e1ae515d6d74" providerId="ADAL" clId="{356C853E-D027-4183-864D-1C71215F695F}" dt="2017-12-05T18:19:54.159" v="505" actId="2696"/>
          <ac:spMkLst>
            <pc:docMk/>
            <pc:sldMk cId="3556834676" sldId="336"/>
            <ac:spMk id="289" creationId="{17A5199B-FA01-4FB6-9AFF-8592BDB536BE}"/>
          </ac:spMkLst>
        </pc:spChg>
        <pc:spChg chg="add">
          <ac:chgData name="Andy Roberts" userId="b6430d21-8e5e-4d9c-81e9-e1ae515d6d74" providerId="ADAL" clId="{356C853E-D027-4183-864D-1C71215F695F}" dt="2017-12-05T18:19:54.159" v="505" actId="2696"/>
          <ac:spMkLst>
            <pc:docMk/>
            <pc:sldMk cId="3556834676" sldId="336"/>
            <ac:spMk id="290" creationId="{EEA896E3-15D7-4632-BAC0-7AAA10E90919}"/>
          </ac:spMkLst>
        </pc:spChg>
        <pc:spChg chg="add">
          <ac:chgData name="Andy Roberts" userId="b6430d21-8e5e-4d9c-81e9-e1ae515d6d74" providerId="ADAL" clId="{356C853E-D027-4183-864D-1C71215F695F}" dt="2017-12-05T18:19:54.159" v="505" actId="2696"/>
          <ac:spMkLst>
            <pc:docMk/>
            <pc:sldMk cId="3556834676" sldId="336"/>
            <ac:spMk id="291" creationId="{0D4B130E-4987-413F-8450-A0A2E0A78EEE}"/>
          </ac:spMkLst>
        </pc:spChg>
        <pc:spChg chg="add">
          <ac:chgData name="Andy Roberts" userId="b6430d21-8e5e-4d9c-81e9-e1ae515d6d74" providerId="ADAL" clId="{356C853E-D027-4183-864D-1C71215F695F}" dt="2017-12-05T18:19:54.159" v="505" actId="2696"/>
          <ac:spMkLst>
            <pc:docMk/>
            <pc:sldMk cId="3556834676" sldId="336"/>
            <ac:spMk id="292" creationId="{5759A342-CEE3-4606-913D-67620D3386EB}"/>
          </ac:spMkLst>
        </pc:spChg>
        <pc:spChg chg="add">
          <ac:chgData name="Andy Roberts" userId="b6430d21-8e5e-4d9c-81e9-e1ae515d6d74" providerId="ADAL" clId="{356C853E-D027-4183-864D-1C71215F695F}" dt="2017-12-05T18:19:54.159" v="505" actId="2696"/>
          <ac:spMkLst>
            <pc:docMk/>
            <pc:sldMk cId="3556834676" sldId="336"/>
            <ac:spMk id="293" creationId="{6257CC59-751F-4677-AE75-89BAA4E74A5E}"/>
          </ac:spMkLst>
        </pc:spChg>
        <pc:spChg chg="add del">
          <ac:chgData name="Andy Roberts" userId="b6430d21-8e5e-4d9c-81e9-e1ae515d6d74" providerId="ADAL" clId="{356C853E-D027-4183-864D-1C71215F695F}" dt="2017-12-05T18:20:05.617" v="511" actId="478"/>
          <ac:spMkLst>
            <pc:docMk/>
            <pc:sldMk cId="3556834676" sldId="336"/>
            <ac:spMk id="294" creationId="{D80894F9-B593-417A-8B1F-5D9E0C8523CE}"/>
          </ac:spMkLst>
        </pc:spChg>
        <pc:spChg chg="add del">
          <ac:chgData name="Andy Roberts" userId="b6430d21-8e5e-4d9c-81e9-e1ae515d6d74" providerId="ADAL" clId="{356C853E-D027-4183-864D-1C71215F695F}" dt="2017-12-05T18:20:05.617" v="511" actId="478"/>
          <ac:spMkLst>
            <pc:docMk/>
            <pc:sldMk cId="3556834676" sldId="336"/>
            <ac:spMk id="295" creationId="{BFF87B06-AA7D-4145-B8BA-2F4BED773512}"/>
          </ac:spMkLst>
        </pc:spChg>
        <pc:spChg chg="add del">
          <ac:chgData name="Andy Roberts" userId="b6430d21-8e5e-4d9c-81e9-e1ae515d6d74" providerId="ADAL" clId="{356C853E-D027-4183-864D-1C71215F695F}" dt="2017-12-05T18:20:05.617" v="511" actId="478"/>
          <ac:spMkLst>
            <pc:docMk/>
            <pc:sldMk cId="3556834676" sldId="336"/>
            <ac:spMk id="297" creationId="{11FEE322-2E04-47C7-A4B5-6D246437F5F2}"/>
          </ac:spMkLst>
        </pc:spChg>
        <pc:spChg chg="add del">
          <ac:chgData name="Andy Roberts" userId="b6430d21-8e5e-4d9c-81e9-e1ae515d6d74" providerId="ADAL" clId="{356C853E-D027-4183-864D-1C71215F695F}" dt="2017-12-05T18:20:05.617" v="511" actId="478"/>
          <ac:spMkLst>
            <pc:docMk/>
            <pc:sldMk cId="3556834676" sldId="336"/>
            <ac:spMk id="298" creationId="{968878C8-37DB-4DC4-9BAB-2341240239D9}"/>
          </ac:spMkLst>
        </pc:spChg>
        <pc:spChg chg="add del">
          <ac:chgData name="Andy Roberts" userId="b6430d21-8e5e-4d9c-81e9-e1ae515d6d74" providerId="ADAL" clId="{356C853E-D027-4183-864D-1C71215F695F}" dt="2017-12-05T18:20:05.617" v="511" actId="478"/>
          <ac:spMkLst>
            <pc:docMk/>
            <pc:sldMk cId="3556834676" sldId="336"/>
            <ac:spMk id="299" creationId="{83206026-200B-43E7-8635-52491ECDAD56}"/>
          </ac:spMkLst>
        </pc:spChg>
        <pc:spChg chg="add del">
          <ac:chgData name="Andy Roberts" userId="b6430d21-8e5e-4d9c-81e9-e1ae515d6d74" providerId="ADAL" clId="{356C853E-D027-4183-864D-1C71215F695F}" dt="2017-12-05T18:20:05.617" v="511" actId="478"/>
          <ac:spMkLst>
            <pc:docMk/>
            <pc:sldMk cId="3556834676" sldId="336"/>
            <ac:spMk id="300" creationId="{37B0EE01-6F7A-433E-9FFD-440B4EC0170B}"/>
          </ac:spMkLst>
        </pc:spChg>
        <pc:spChg chg="add del">
          <ac:chgData name="Andy Roberts" userId="b6430d21-8e5e-4d9c-81e9-e1ae515d6d74" providerId="ADAL" clId="{356C853E-D027-4183-864D-1C71215F695F}" dt="2017-12-05T18:20:05.617" v="511" actId="478"/>
          <ac:spMkLst>
            <pc:docMk/>
            <pc:sldMk cId="3556834676" sldId="336"/>
            <ac:spMk id="301" creationId="{F539F26E-0A06-4A8F-8074-2DF714F20F81}"/>
          </ac:spMkLst>
        </pc:spChg>
        <pc:spChg chg="add del">
          <ac:chgData name="Andy Roberts" userId="b6430d21-8e5e-4d9c-81e9-e1ae515d6d74" providerId="ADAL" clId="{356C853E-D027-4183-864D-1C71215F695F}" dt="2017-12-05T18:20:05.617" v="511" actId="478"/>
          <ac:spMkLst>
            <pc:docMk/>
            <pc:sldMk cId="3556834676" sldId="336"/>
            <ac:spMk id="302" creationId="{9817C658-8931-4CCE-A516-5F1B91E6AA77}"/>
          </ac:spMkLst>
        </pc:spChg>
        <pc:spChg chg="add del">
          <ac:chgData name="Andy Roberts" userId="b6430d21-8e5e-4d9c-81e9-e1ae515d6d74" providerId="ADAL" clId="{356C853E-D027-4183-864D-1C71215F695F}" dt="2017-12-05T18:20:05.617" v="511" actId="478"/>
          <ac:spMkLst>
            <pc:docMk/>
            <pc:sldMk cId="3556834676" sldId="336"/>
            <ac:spMk id="303" creationId="{AF327F79-5149-4DA2-ACB0-8B2712F44547}"/>
          </ac:spMkLst>
        </pc:spChg>
        <pc:spChg chg="add del">
          <ac:chgData name="Andy Roberts" userId="b6430d21-8e5e-4d9c-81e9-e1ae515d6d74" providerId="ADAL" clId="{356C853E-D027-4183-864D-1C71215F695F}" dt="2017-12-05T18:20:05.617" v="511" actId="478"/>
          <ac:spMkLst>
            <pc:docMk/>
            <pc:sldMk cId="3556834676" sldId="336"/>
            <ac:spMk id="304" creationId="{157CE6C6-38D1-4299-AE6C-E126BF2E9ECD}"/>
          </ac:spMkLst>
        </pc:spChg>
        <pc:spChg chg="add del">
          <ac:chgData name="Andy Roberts" userId="b6430d21-8e5e-4d9c-81e9-e1ae515d6d74" providerId="ADAL" clId="{356C853E-D027-4183-864D-1C71215F695F}" dt="2017-12-05T18:20:05.617" v="511" actId="478"/>
          <ac:spMkLst>
            <pc:docMk/>
            <pc:sldMk cId="3556834676" sldId="336"/>
            <ac:spMk id="305" creationId="{0044AA67-5EF0-44BE-A0A3-1024A4B76219}"/>
          </ac:spMkLst>
        </pc:spChg>
        <pc:spChg chg="add del">
          <ac:chgData name="Andy Roberts" userId="b6430d21-8e5e-4d9c-81e9-e1ae515d6d74" providerId="ADAL" clId="{356C853E-D027-4183-864D-1C71215F695F}" dt="2017-12-05T18:20:05.617" v="511" actId="478"/>
          <ac:spMkLst>
            <pc:docMk/>
            <pc:sldMk cId="3556834676" sldId="336"/>
            <ac:spMk id="306" creationId="{24276052-29F3-42EF-B404-5CB30AD3FF9A}"/>
          </ac:spMkLst>
        </pc:spChg>
        <pc:spChg chg="add del">
          <ac:chgData name="Andy Roberts" userId="b6430d21-8e5e-4d9c-81e9-e1ae515d6d74" providerId="ADAL" clId="{356C853E-D027-4183-864D-1C71215F695F}" dt="2017-12-05T18:20:05.617" v="511" actId="478"/>
          <ac:spMkLst>
            <pc:docMk/>
            <pc:sldMk cId="3556834676" sldId="336"/>
            <ac:spMk id="310" creationId="{DEDDA6A1-3BA6-46AF-8C24-09F2F13CE66F}"/>
          </ac:spMkLst>
        </pc:spChg>
        <pc:spChg chg="add del">
          <ac:chgData name="Andy Roberts" userId="b6430d21-8e5e-4d9c-81e9-e1ae515d6d74" providerId="ADAL" clId="{356C853E-D027-4183-864D-1C71215F695F}" dt="2017-12-05T18:20:05.617" v="511" actId="478"/>
          <ac:spMkLst>
            <pc:docMk/>
            <pc:sldMk cId="3556834676" sldId="336"/>
            <ac:spMk id="311" creationId="{18AC1745-8E8B-4665-AB6F-0F20CB2B50AF}"/>
          </ac:spMkLst>
        </pc:spChg>
        <pc:spChg chg="add del">
          <ac:chgData name="Andy Roberts" userId="b6430d21-8e5e-4d9c-81e9-e1ae515d6d74" providerId="ADAL" clId="{356C853E-D027-4183-864D-1C71215F695F}" dt="2017-12-05T18:20:05.617" v="511" actId="478"/>
          <ac:spMkLst>
            <pc:docMk/>
            <pc:sldMk cId="3556834676" sldId="336"/>
            <ac:spMk id="312" creationId="{C57A70FA-D688-457E-B04D-55A1199667B2}"/>
          </ac:spMkLst>
        </pc:spChg>
        <pc:spChg chg="add del">
          <ac:chgData name="Andy Roberts" userId="b6430d21-8e5e-4d9c-81e9-e1ae515d6d74" providerId="ADAL" clId="{356C853E-D027-4183-864D-1C71215F695F}" dt="2017-12-05T18:20:05.617" v="511" actId="478"/>
          <ac:spMkLst>
            <pc:docMk/>
            <pc:sldMk cId="3556834676" sldId="336"/>
            <ac:spMk id="313" creationId="{F64EECBA-FB6E-49CB-B5AE-A4D7EE3152F2}"/>
          </ac:spMkLst>
        </pc:spChg>
        <pc:spChg chg="add del">
          <ac:chgData name="Andy Roberts" userId="b6430d21-8e5e-4d9c-81e9-e1ae515d6d74" providerId="ADAL" clId="{356C853E-D027-4183-864D-1C71215F695F}" dt="2017-12-05T18:20:05.617" v="511" actId="478"/>
          <ac:spMkLst>
            <pc:docMk/>
            <pc:sldMk cId="3556834676" sldId="336"/>
            <ac:spMk id="314" creationId="{7EFA39B1-EEB2-45A3-B355-E1FF10405B2E}"/>
          </ac:spMkLst>
        </pc:spChg>
        <pc:spChg chg="add del">
          <ac:chgData name="Andy Roberts" userId="b6430d21-8e5e-4d9c-81e9-e1ae515d6d74" providerId="ADAL" clId="{356C853E-D027-4183-864D-1C71215F695F}" dt="2017-12-05T18:20:05.617" v="511" actId="478"/>
          <ac:spMkLst>
            <pc:docMk/>
            <pc:sldMk cId="3556834676" sldId="336"/>
            <ac:spMk id="315" creationId="{87196080-A42E-4F3E-907D-D36963F4C554}"/>
          </ac:spMkLst>
        </pc:spChg>
        <pc:spChg chg="add del">
          <ac:chgData name="Andy Roberts" userId="b6430d21-8e5e-4d9c-81e9-e1ae515d6d74" providerId="ADAL" clId="{356C853E-D027-4183-864D-1C71215F695F}" dt="2017-12-05T18:20:05.617" v="511" actId="478"/>
          <ac:spMkLst>
            <pc:docMk/>
            <pc:sldMk cId="3556834676" sldId="336"/>
            <ac:spMk id="316" creationId="{D566F6C8-688F-42C6-918D-CB5045A23810}"/>
          </ac:spMkLst>
        </pc:spChg>
        <pc:spChg chg="add del">
          <ac:chgData name="Andy Roberts" userId="b6430d21-8e5e-4d9c-81e9-e1ae515d6d74" providerId="ADAL" clId="{356C853E-D027-4183-864D-1C71215F695F}" dt="2017-12-05T18:20:05.617" v="511" actId="478"/>
          <ac:spMkLst>
            <pc:docMk/>
            <pc:sldMk cId="3556834676" sldId="336"/>
            <ac:spMk id="317" creationId="{A235131C-2F00-41ED-AE03-B6BDF97F63F9}"/>
          </ac:spMkLst>
        </pc:spChg>
        <pc:spChg chg="add del">
          <ac:chgData name="Andy Roberts" userId="b6430d21-8e5e-4d9c-81e9-e1ae515d6d74" providerId="ADAL" clId="{356C853E-D027-4183-864D-1C71215F695F}" dt="2017-12-05T18:20:05.617" v="511" actId="478"/>
          <ac:spMkLst>
            <pc:docMk/>
            <pc:sldMk cId="3556834676" sldId="336"/>
            <ac:spMk id="318" creationId="{F19D91F6-3F1B-4E22-A3FF-2B22767128C4}"/>
          </ac:spMkLst>
        </pc:spChg>
        <pc:spChg chg="add del">
          <ac:chgData name="Andy Roberts" userId="b6430d21-8e5e-4d9c-81e9-e1ae515d6d74" providerId="ADAL" clId="{356C853E-D027-4183-864D-1C71215F695F}" dt="2017-12-05T18:20:05.617" v="511" actId="478"/>
          <ac:spMkLst>
            <pc:docMk/>
            <pc:sldMk cId="3556834676" sldId="336"/>
            <ac:spMk id="319" creationId="{90B6BA66-C39A-4428-9769-4A63A9DEA76E}"/>
          </ac:spMkLst>
        </pc:spChg>
        <pc:spChg chg="add del">
          <ac:chgData name="Andy Roberts" userId="b6430d21-8e5e-4d9c-81e9-e1ae515d6d74" providerId="ADAL" clId="{356C853E-D027-4183-864D-1C71215F695F}" dt="2017-12-05T18:20:05.617" v="511" actId="478"/>
          <ac:spMkLst>
            <pc:docMk/>
            <pc:sldMk cId="3556834676" sldId="336"/>
            <ac:spMk id="325" creationId="{457152C3-0CAE-4073-8430-9D713DC76740}"/>
          </ac:spMkLst>
        </pc:spChg>
        <pc:spChg chg="add del">
          <ac:chgData name="Andy Roberts" userId="b6430d21-8e5e-4d9c-81e9-e1ae515d6d74" providerId="ADAL" clId="{356C853E-D027-4183-864D-1C71215F695F}" dt="2017-12-05T18:20:05.617" v="511" actId="478"/>
          <ac:spMkLst>
            <pc:docMk/>
            <pc:sldMk cId="3556834676" sldId="336"/>
            <ac:spMk id="326" creationId="{D5CC7AE6-30CB-413F-A374-60C9E487D476}"/>
          </ac:spMkLst>
        </pc:spChg>
        <pc:spChg chg="add del">
          <ac:chgData name="Andy Roberts" userId="b6430d21-8e5e-4d9c-81e9-e1ae515d6d74" providerId="ADAL" clId="{356C853E-D027-4183-864D-1C71215F695F}" dt="2017-12-05T18:20:08.087" v="512" actId="478"/>
          <ac:spMkLst>
            <pc:docMk/>
            <pc:sldMk cId="3556834676" sldId="336"/>
            <ac:spMk id="328" creationId="{47959E73-F85A-4AE4-9362-18D69C46B12D}"/>
          </ac:spMkLst>
        </pc:spChg>
        <pc:spChg chg="add">
          <ac:chgData name="Andy Roberts" userId="b6430d21-8e5e-4d9c-81e9-e1ae515d6d74" providerId="ADAL" clId="{356C853E-D027-4183-864D-1C71215F695F}" dt="2017-12-05T18:20:00.096" v="509" actId="2696"/>
          <ac:spMkLst>
            <pc:docMk/>
            <pc:sldMk cId="3556834676" sldId="336"/>
            <ac:spMk id="339" creationId="{3357A92A-497D-4507-B334-2049EAB13752}"/>
          </ac:spMkLst>
        </pc:spChg>
        <pc:spChg chg="add">
          <ac:chgData name="Andy Roberts" userId="b6430d21-8e5e-4d9c-81e9-e1ae515d6d74" providerId="ADAL" clId="{356C853E-D027-4183-864D-1C71215F695F}" dt="2017-12-05T18:20:00.096" v="509" actId="2696"/>
          <ac:spMkLst>
            <pc:docMk/>
            <pc:sldMk cId="3556834676" sldId="336"/>
            <ac:spMk id="340" creationId="{3F919F86-9618-41D0-9887-268349C8B284}"/>
          </ac:spMkLst>
        </pc:spChg>
        <pc:spChg chg="add">
          <ac:chgData name="Andy Roberts" userId="b6430d21-8e5e-4d9c-81e9-e1ae515d6d74" providerId="ADAL" clId="{356C853E-D027-4183-864D-1C71215F695F}" dt="2017-12-05T18:20:00.096" v="509" actId="2696"/>
          <ac:spMkLst>
            <pc:docMk/>
            <pc:sldMk cId="3556834676" sldId="336"/>
            <ac:spMk id="341" creationId="{045992E4-E3D5-4C61-A069-1F79D072844A}"/>
          </ac:spMkLst>
        </pc:spChg>
        <pc:spChg chg="add">
          <ac:chgData name="Andy Roberts" userId="b6430d21-8e5e-4d9c-81e9-e1ae515d6d74" providerId="ADAL" clId="{356C853E-D027-4183-864D-1C71215F695F}" dt="2017-12-05T18:20:00.096" v="509" actId="2696"/>
          <ac:spMkLst>
            <pc:docMk/>
            <pc:sldMk cId="3556834676" sldId="336"/>
            <ac:spMk id="342" creationId="{CF94239B-AEDE-41E9-ABD5-3D42A0FEECF5}"/>
          </ac:spMkLst>
        </pc:spChg>
        <pc:spChg chg="add">
          <ac:chgData name="Andy Roberts" userId="b6430d21-8e5e-4d9c-81e9-e1ae515d6d74" providerId="ADAL" clId="{356C853E-D027-4183-864D-1C71215F695F}" dt="2017-12-05T18:20:00.096" v="509" actId="2696"/>
          <ac:spMkLst>
            <pc:docMk/>
            <pc:sldMk cId="3556834676" sldId="336"/>
            <ac:spMk id="343" creationId="{1454A46E-3F88-42EC-BEC8-8915EB193ED2}"/>
          </ac:spMkLst>
        </pc:spChg>
        <pc:spChg chg="add">
          <ac:chgData name="Andy Roberts" userId="b6430d21-8e5e-4d9c-81e9-e1ae515d6d74" providerId="ADAL" clId="{356C853E-D027-4183-864D-1C71215F695F}" dt="2017-12-05T18:20:00.096" v="509" actId="2696"/>
          <ac:spMkLst>
            <pc:docMk/>
            <pc:sldMk cId="3556834676" sldId="336"/>
            <ac:spMk id="344" creationId="{7FA12790-8FC1-4645-B980-5859EFB53941}"/>
          </ac:spMkLst>
        </pc:spChg>
        <pc:spChg chg="add">
          <ac:chgData name="Andy Roberts" userId="b6430d21-8e5e-4d9c-81e9-e1ae515d6d74" providerId="ADAL" clId="{356C853E-D027-4183-864D-1C71215F695F}" dt="2017-12-05T18:20:00.096" v="509" actId="2696"/>
          <ac:spMkLst>
            <pc:docMk/>
            <pc:sldMk cId="3556834676" sldId="336"/>
            <ac:spMk id="345" creationId="{10D653CD-2F3F-48BA-9E98-EA4377D37054}"/>
          </ac:spMkLst>
        </pc:spChg>
        <pc:spChg chg="add">
          <ac:chgData name="Andy Roberts" userId="b6430d21-8e5e-4d9c-81e9-e1ae515d6d74" providerId="ADAL" clId="{356C853E-D027-4183-864D-1C71215F695F}" dt="2017-12-05T18:20:00.096" v="509" actId="2696"/>
          <ac:spMkLst>
            <pc:docMk/>
            <pc:sldMk cId="3556834676" sldId="336"/>
            <ac:spMk id="346" creationId="{4657930C-BEC1-4594-9E22-83C701C54C0A}"/>
          </ac:spMkLst>
        </pc:spChg>
        <pc:spChg chg="add">
          <ac:chgData name="Andy Roberts" userId="b6430d21-8e5e-4d9c-81e9-e1ae515d6d74" providerId="ADAL" clId="{356C853E-D027-4183-864D-1C71215F695F}" dt="2017-12-05T18:20:00.096" v="509" actId="2696"/>
          <ac:spMkLst>
            <pc:docMk/>
            <pc:sldMk cId="3556834676" sldId="336"/>
            <ac:spMk id="347" creationId="{D34E3456-B5A1-40B6-9DCF-3D56456413C3}"/>
          </ac:spMkLst>
        </pc:spChg>
        <pc:spChg chg="add">
          <ac:chgData name="Andy Roberts" userId="b6430d21-8e5e-4d9c-81e9-e1ae515d6d74" providerId="ADAL" clId="{356C853E-D027-4183-864D-1C71215F695F}" dt="2017-12-05T18:20:00.096" v="509" actId="2696"/>
          <ac:spMkLst>
            <pc:docMk/>
            <pc:sldMk cId="3556834676" sldId="336"/>
            <ac:spMk id="348" creationId="{5CAECB03-5EF3-4FA6-8A01-B892C44DF002}"/>
          </ac:spMkLst>
        </pc:spChg>
        <pc:spChg chg="add">
          <ac:chgData name="Andy Roberts" userId="b6430d21-8e5e-4d9c-81e9-e1ae515d6d74" providerId="ADAL" clId="{356C853E-D027-4183-864D-1C71215F695F}" dt="2017-12-05T18:20:00.096" v="509" actId="2696"/>
          <ac:spMkLst>
            <pc:docMk/>
            <pc:sldMk cId="3556834676" sldId="336"/>
            <ac:spMk id="349" creationId="{959661E5-EC46-4D19-BA82-D93E8FDB508D}"/>
          </ac:spMkLst>
        </pc:spChg>
        <pc:spChg chg="add">
          <ac:chgData name="Andy Roberts" userId="b6430d21-8e5e-4d9c-81e9-e1ae515d6d74" providerId="ADAL" clId="{356C853E-D027-4183-864D-1C71215F695F}" dt="2017-12-05T18:20:00.096" v="509" actId="2696"/>
          <ac:spMkLst>
            <pc:docMk/>
            <pc:sldMk cId="3556834676" sldId="336"/>
            <ac:spMk id="350" creationId="{0990BAB1-36D7-4E31-BAF9-B3B3F6B7F5FB}"/>
          </ac:spMkLst>
        </pc:spChg>
        <pc:spChg chg="add">
          <ac:chgData name="Andy Roberts" userId="b6430d21-8e5e-4d9c-81e9-e1ae515d6d74" providerId="ADAL" clId="{356C853E-D027-4183-864D-1C71215F695F}" dt="2017-12-05T18:20:00.096" v="509" actId="2696"/>
          <ac:spMkLst>
            <pc:docMk/>
            <pc:sldMk cId="3556834676" sldId="336"/>
            <ac:spMk id="351" creationId="{E8CDE513-DADC-4591-9CBE-F096316AF459}"/>
          </ac:spMkLst>
        </pc:spChg>
        <pc:spChg chg="add">
          <ac:chgData name="Andy Roberts" userId="b6430d21-8e5e-4d9c-81e9-e1ae515d6d74" providerId="ADAL" clId="{356C853E-D027-4183-864D-1C71215F695F}" dt="2017-12-05T18:20:00.096" v="509" actId="2696"/>
          <ac:spMkLst>
            <pc:docMk/>
            <pc:sldMk cId="3556834676" sldId="336"/>
            <ac:spMk id="352" creationId="{A5D24F99-3928-440E-B4D0-BA35539C095F}"/>
          </ac:spMkLst>
        </pc:spChg>
        <pc:spChg chg="add">
          <ac:chgData name="Andy Roberts" userId="b6430d21-8e5e-4d9c-81e9-e1ae515d6d74" providerId="ADAL" clId="{356C853E-D027-4183-864D-1C71215F695F}" dt="2017-12-05T18:20:00.096" v="509" actId="2696"/>
          <ac:spMkLst>
            <pc:docMk/>
            <pc:sldMk cId="3556834676" sldId="336"/>
            <ac:spMk id="353" creationId="{FE51FB1B-84F2-4649-91D4-5F3523C0FFCE}"/>
          </ac:spMkLst>
        </pc:spChg>
        <pc:spChg chg="add">
          <ac:chgData name="Andy Roberts" userId="b6430d21-8e5e-4d9c-81e9-e1ae515d6d74" providerId="ADAL" clId="{356C853E-D027-4183-864D-1C71215F695F}" dt="2017-12-05T18:20:00.096" v="509" actId="2696"/>
          <ac:spMkLst>
            <pc:docMk/>
            <pc:sldMk cId="3556834676" sldId="336"/>
            <ac:spMk id="354" creationId="{009423C4-42C1-4B8E-B84B-F6090EB7D91B}"/>
          </ac:spMkLst>
        </pc:spChg>
        <pc:spChg chg="add">
          <ac:chgData name="Andy Roberts" userId="b6430d21-8e5e-4d9c-81e9-e1ae515d6d74" providerId="ADAL" clId="{356C853E-D027-4183-864D-1C71215F695F}" dt="2017-12-05T18:20:00.096" v="509" actId="2696"/>
          <ac:spMkLst>
            <pc:docMk/>
            <pc:sldMk cId="3556834676" sldId="336"/>
            <ac:spMk id="355" creationId="{9B4274C7-F96F-4DE1-88CD-C54EFEA589D1}"/>
          </ac:spMkLst>
        </pc:spChg>
        <pc:spChg chg="add">
          <ac:chgData name="Andy Roberts" userId="b6430d21-8e5e-4d9c-81e9-e1ae515d6d74" providerId="ADAL" clId="{356C853E-D027-4183-864D-1C71215F695F}" dt="2017-12-05T18:20:00.096" v="509" actId="2696"/>
          <ac:spMkLst>
            <pc:docMk/>
            <pc:sldMk cId="3556834676" sldId="336"/>
            <ac:spMk id="356" creationId="{B5DA410A-38D7-4AC7-A59A-A49C67AD37F7}"/>
          </ac:spMkLst>
        </pc:spChg>
        <pc:spChg chg="add">
          <ac:chgData name="Andy Roberts" userId="b6430d21-8e5e-4d9c-81e9-e1ae515d6d74" providerId="ADAL" clId="{356C853E-D027-4183-864D-1C71215F695F}" dt="2017-12-05T18:20:00.096" v="509" actId="2696"/>
          <ac:spMkLst>
            <pc:docMk/>
            <pc:sldMk cId="3556834676" sldId="336"/>
            <ac:spMk id="357" creationId="{75556287-4CCB-4139-B952-79F8D7E7ADB8}"/>
          </ac:spMkLst>
        </pc:spChg>
        <pc:spChg chg="add">
          <ac:chgData name="Andy Roberts" userId="b6430d21-8e5e-4d9c-81e9-e1ae515d6d74" providerId="ADAL" clId="{356C853E-D027-4183-864D-1C71215F695F}" dt="2017-12-05T18:20:00.096" v="509" actId="2696"/>
          <ac:spMkLst>
            <pc:docMk/>
            <pc:sldMk cId="3556834676" sldId="336"/>
            <ac:spMk id="358" creationId="{A809E870-73AC-43F8-8550-13F327F3F1DA}"/>
          </ac:spMkLst>
        </pc:spChg>
        <pc:spChg chg="add">
          <ac:chgData name="Andy Roberts" userId="b6430d21-8e5e-4d9c-81e9-e1ae515d6d74" providerId="ADAL" clId="{356C853E-D027-4183-864D-1C71215F695F}" dt="2017-12-05T18:20:00.096" v="509" actId="2696"/>
          <ac:spMkLst>
            <pc:docMk/>
            <pc:sldMk cId="3556834676" sldId="336"/>
            <ac:spMk id="359" creationId="{8C5B4D35-C5C5-4E35-8493-31AE9807590F}"/>
          </ac:spMkLst>
        </pc:spChg>
        <pc:spChg chg="add">
          <ac:chgData name="Andy Roberts" userId="b6430d21-8e5e-4d9c-81e9-e1ae515d6d74" providerId="ADAL" clId="{356C853E-D027-4183-864D-1C71215F695F}" dt="2017-12-05T18:20:00.096" v="509" actId="2696"/>
          <ac:spMkLst>
            <pc:docMk/>
            <pc:sldMk cId="3556834676" sldId="336"/>
            <ac:spMk id="360" creationId="{3983856F-0084-42F3-AC95-0FAFF9DB914B}"/>
          </ac:spMkLst>
        </pc:spChg>
        <pc:spChg chg="add">
          <ac:chgData name="Andy Roberts" userId="b6430d21-8e5e-4d9c-81e9-e1ae515d6d74" providerId="ADAL" clId="{356C853E-D027-4183-864D-1C71215F695F}" dt="2017-12-05T18:20:00.096" v="509" actId="2696"/>
          <ac:spMkLst>
            <pc:docMk/>
            <pc:sldMk cId="3556834676" sldId="336"/>
            <ac:spMk id="361" creationId="{00A27264-3545-45C4-8A39-A4155C7C73A2}"/>
          </ac:spMkLst>
        </pc:spChg>
        <pc:spChg chg="add">
          <ac:chgData name="Andy Roberts" userId="b6430d21-8e5e-4d9c-81e9-e1ae515d6d74" providerId="ADAL" clId="{356C853E-D027-4183-864D-1C71215F695F}" dt="2017-12-05T18:20:00.096" v="509" actId="2696"/>
          <ac:spMkLst>
            <pc:docMk/>
            <pc:sldMk cId="3556834676" sldId="336"/>
            <ac:spMk id="362" creationId="{CF3ED2AF-9DA3-431E-AF05-4AA890831261}"/>
          </ac:spMkLst>
        </pc:spChg>
        <pc:spChg chg="add">
          <ac:chgData name="Andy Roberts" userId="b6430d21-8e5e-4d9c-81e9-e1ae515d6d74" providerId="ADAL" clId="{356C853E-D027-4183-864D-1C71215F695F}" dt="2017-12-05T18:20:00.096" v="509" actId="2696"/>
          <ac:spMkLst>
            <pc:docMk/>
            <pc:sldMk cId="3556834676" sldId="336"/>
            <ac:spMk id="363" creationId="{9F0AB92E-212B-4686-A8DC-438FB29734EC}"/>
          </ac:spMkLst>
        </pc:spChg>
        <pc:spChg chg="add">
          <ac:chgData name="Andy Roberts" userId="b6430d21-8e5e-4d9c-81e9-e1ae515d6d74" providerId="ADAL" clId="{356C853E-D027-4183-864D-1C71215F695F}" dt="2017-12-05T18:20:00.096" v="509" actId="2696"/>
          <ac:spMkLst>
            <pc:docMk/>
            <pc:sldMk cId="3556834676" sldId="336"/>
            <ac:spMk id="364" creationId="{FB17D23F-6A42-4439-BE5C-DA786C6F0E33}"/>
          </ac:spMkLst>
        </pc:spChg>
        <pc:spChg chg="add">
          <ac:chgData name="Andy Roberts" userId="b6430d21-8e5e-4d9c-81e9-e1ae515d6d74" providerId="ADAL" clId="{356C853E-D027-4183-864D-1C71215F695F}" dt="2017-12-05T18:20:00.096" v="509" actId="2696"/>
          <ac:spMkLst>
            <pc:docMk/>
            <pc:sldMk cId="3556834676" sldId="336"/>
            <ac:spMk id="365" creationId="{F31ED029-4EA7-446A-A107-1905C2849D0A}"/>
          </ac:spMkLst>
        </pc:spChg>
        <pc:spChg chg="add">
          <ac:chgData name="Andy Roberts" userId="b6430d21-8e5e-4d9c-81e9-e1ae515d6d74" providerId="ADAL" clId="{356C853E-D027-4183-864D-1C71215F695F}" dt="2017-12-05T18:20:00.096" v="509" actId="2696"/>
          <ac:spMkLst>
            <pc:docMk/>
            <pc:sldMk cId="3556834676" sldId="336"/>
            <ac:spMk id="366" creationId="{E0820DC0-DDE0-4B5F-888B-1E441EFE5D94}"/>
          </ac:spMkLst>
        </pc:spChg>
        <pc:spChg chg="add">
          <ac:chgData name="Andy Roberts" userId="b6430d21-8e5e-4d9c-81e9-e1ae515d6d74" providerId="ADAL" clId="{356C853E-D027-4183-864D-1C71215F695F}" dt="2017-12-05T18:20:00.096" v="509" actId="2696"/>
          <ac:spMkLst>
            <pc:docMk/>
            <pc:sldMk cId="3556834676" sldId="336"/>
            <ac:spMk id="367" creationId="{4D65BB96-3DA5-4FA0-9121-3874364B2B13}"/>
          </ac:spMkLst>
        </pc:spChg>
        <pc:spChg chg="add">
          <ac:chgData name="Andy Roberts" userId="b6430d21-8e5e-4d9c-81e9-e1ae515d6d74" providerId="ADAL" clId="{356C853E-D027-4183-864D-1C71215F695F}" dt="2017-12-05T18:20:00.096" v="509" actId="2696"/>
          <ac:spMkLst>
            <pc:docMk/>
            <pc:sldMk cId="3556834676" sldId="336"/>
            <ac:spMk id="368" creationId="{4C930A8D-0313-4167-B03F-C77DEF23942A}"/>
          </ac:spMkLst>
        </pc:spChg>
        <pc:spChg chg="add">
          <ac:chgData name="Andy Roberts" userId="b6430d21-8e5e-4d9c-81e9-e1ae515d6d74" providerId="ADAL" clId="{356C853E-D027-4183-864D-1C71215F695F}" dt="2017-12-05T18:20:00.096" v="509" actId="2696"/>
          <ac:spMkLst>
            <pc:docMk/>
            <pc:sldMk cId="3556834676" sldId="336"/>
            <ac:spMk id="369" creationId="{EFEC0C73-57DF-4519-AA43-436DE744D6B4}"/>
          </ac:spMkLst>
        </pc:spChg>
        <pc:spChg chg="add">
          <ac:chgData name="Andy Roberts" userId="b6430d21-8e5e-4d9c-81e9-e1ae515d6d74" providerId="ADAL" clId="{356C853E-D027-4183-864D-1C71215F695F}" dt="2017-12-05T18:20:00.096" v="509" actId="2696"/>
          <ac:spMkLst>
            <pc:docMk/>
            <pc:sldMk cId="3556834676" sldId="336"/>
            <ac:spMk id="370" creationId="{38FFECF5-3C6D-41A4-A5CA-3EA157794822}"/>
          </ac:spMkLst>
        </pc:spChg>
        <pc:spChg chg="add">
          <ac:chgData name="Andy Roberts" userId="b6430d21-8e5e-4d9c-81e9-e1ae515d6d74" providerId="ADAL" clId="{356C853E-D027-4183-864D-1C71215F695F}" dt="2017-12-05T18:20:00.096" v="509" actId="2696"/>
          <ac:spMkLst>
            <pc:docMk/>
            <pc:sldMk cId="3556834676" sldId="336"/>
            <ac:spMk id="371" creationId="{6D21ACD9-18EE-4D4C-A815-919EF8D6270E}"/>
          </ac:spMkLst>
        </pc:spChg>
        <pc:spChg chg="add">
          <ac:chgData name="Andy Roberts" userId="b6430d21-8e5e-4d9c-81e9-e1ae515d6d74" providerId="ADAL" clId="{356C853E-D027-4183-864D-1C71215F695F}" dt="2017-12-05T18:20:00.096" v="509" actId="2696"/>
          <ac:spMkLst>
            <pc:docMk/>
            <pc:sldMk cId="3556834676" sldId="336"/>
            <ac:spMk id="372" creationId="{386FC24F-9C05-479A-A32E-28A0DE3D756A}"/>
          </ac:spMkLst>
        </pc:spChg>
        <pc:spChg chg="add">
          <ac:chgData name="Andy Roberts" userId="b6430d21-8e5e-4d9c-81e9-e1ae515d6d74" providerId="ADAL" clId="{356C853E-D027-4183-864D-1C71215F695F}" dt="2017-12-05T18:20:00.096" v="509" actId="2696"/>
          <ac:spMkLst>
            <pc:docMk/>
            <pc:sldMk cId="3556834676" sldId="336"/>
            <ac:spMk id="373" creationId="{57B89043-A248-4F2D-9E88-CD609C971E9B}"/>
          </ac:spMkLst>
        </pc:spChg>
        <pc:spChg chg="add">
          <ac:chgData name="Andy Roberts" userId="b6430d21-8e5e-4d9c-81e9-e1ae515d6d74" providerId="ADAL" clId="{356C853E-D027-4183-864D-1C71215F695F}" dt="2017-12-05T18:20:00.096" v="509" actId="2696"/>
          <ac:spMkLst>
            <pc:docMk/>
            <pc:sldMk cId="3556834676" sldId="336"/>
            <ac:spMk id="374" creationId="{55248919-8AFD-47A9-AA4D-6233C28734D0}"/>
          </ac:spMkLst>
        </pc:spChg>
        <pc:spChg chg="add">
          <ac:chgData name="Andy Roberts" userId="b6430d21-8e5e-4d9c-81e9-e1ae515d6d74" providerId="ADAL" clId="{356C853E-D027-4183-864D-1C71215F695F}" dt="2017-12-05T18:20:00.096" v="509" actId="2696"/>
          <ac:spMkLst>
            <pc:docMk/>
            <pc:sldMk cId="3556834676" sldId="336"/>
            <ac:spMk id="375" creationId="{F5F4353F-BBC8-4309-A409-4AC9524FBD7D}"/>
          </ac:spMkLst>
        </pc:spChg>
        <pc:spChg chg="add">
          <ac:chgData name="Andy Roberts" userId="b6430d21-8e5e-4d9c-81e9-e1ae515d6d74" providerId="ADAL" clId="{356C853E-D027-4183-864D-1C71215F695F}" dt="2017-12-05T18:20:00.096" v="509" actId="2696"/>
          <ac:spMkLst>
            <pc:docMk/>
            <pc:sldMk cId="3556834676" sldId="336"/>
            <ac:spMk id="376" creationId="{7F0CD986-8A3E-4DC5-8B49-7E5E2A9DE0B9}"/>
          </ac:spMkLst>
        </pc:spChg>
        <pc:spChg chg="add">
          <ac:chgData name="Andy Roberts" userId="b6430d21-8e5e-4d9c-81e9-e1ae515d6d74" providerId="ADAL" clId="{356C853E-D027-4183-864D-1C71215F695F}" dt="2017-12-05T18:20:00.096" v="509" actId="2696"/>
          <ac:spMkLst>
            <pc:docMk/>
            <pc:sldMk cId="3556834676" sldId="336"/>
            <ac:spMk id="377" creationId="{2DE7D14F-A37C-40AD-A22B-2DF7553E243A}"/>
          </ac:spMkLst>
        </pc:spChg>
        <pc:spChg chg="add">
          <ac:chgData name="Andy Roberts" userId="b6430d21-8e5e-4d9c-81e9-e1ae515d6d74" providerId="ADAL" clId="{356C853E-D027-4183-864D-1C71215F695F}" dt="2017-12-05T18:20:00.096" v="509" actId="2696"/>
          <ac:spMkLst>
            <pc:docMk/>
            <pc:sldMk cId="3556834676" sldId="336"/>
            <ac:spMk id="378" creationId="{9029431E-E860-4B9B-896B-BCCE769B2B6E}"/>
          </ac:spMkLst>
        </pc:spChg>
        <pc:spChg chg="add">
          <ac:chgData name="Andy Roberts" userId="b6430d21-8e5e-4d9c-81e9-e1ae515d6d74" providerId="ADAL" clId="{356C853E-D027-4183-864D-1C71215F695F}" dt="2017-12-05T18:20:00.096" v="509" actId="2696"/>
          <ac:spMkLst>
            <pc:docMk/>
            <pc:sldMk cId="3556834676" sldId="336"/>
            <ac:spMk id="379" creationId="{E1DB8B97-C79E-41E9-82A2-F632A9D8CBB1}"/>
          </ac:spMkLst>
        </pc:spChg>
        <pc:spChg chg="add">
          <ac:chgData name="Andy Roberts" userId="b6430d21-8e5e-4d9c-81e9-e1ae515d6d74" providerId="ADAL" clId="{356C853E-D027-4183-864D-1C71215F695F}" dt="2017-12-05T18:20:00.096" v="509" actId="2696"/>
          <ac:spMkLst>
            <pc:docMk/>
            <pc:sldMk cId="3556834676" sldId="336"/>
            <ac:spMk id="380" creationId="{633EB799-E95A-4A34-B3D6-05BD04771E3D}"/>
          </ac:spMkLst>
        </pc:spChg>
        <pc:spChg chg="add">
          <ac:chgData name="Andy Roberts" userId="b6430d21-8e5e-4d9c-81e9-e1ae515d6d74" providerId="ADAL" clId="{356C853E-D027-4183-864D-1C71215F695F}" dt="2017-12-05T18:20:00.096" v="509" actId="2696"/>
          <ac:spMkLst>
            <pc:docMk/>
            <pc:sldMk cId="3556834676" sldId="336"/>
            <ac:spMk id="381" creationId="{F7D9885D-EA5D-4B2B-A2C2-0981876B431E}"/>
          </ac:spMkLst>
        </pc:spChg>
        <pc:spChg chg="add">
          <ac:chgData name="Andy Roberts" userId="b6430d21-8e5e-4d9c-81e9-e1ae515d6d74" providerId="ADAL" clId="{356C853E-D027-4183-864D-1C71215F695F}" dt="2017-12-05T18:20:00.096" v="509" actId="2696"/>
          <ac:spMkLst>
            <pc:docMk/>
            <pc:sldMk cId="3556834676" sldId="336"/>
            <ac:spMk id="382" creationId="{3FD886F4-C1DB-4481-905E-F21CA03BDB44}"/>
          </ac:spMkLst>
        </pc:spChg>
        <pc:spChg chg="add">
          <ac:chgData name="Andy Roberts" userId="b6430d21-8e5e-4d9c-81e9-e1ae515d6d74" providerId="ADAL" clId="{356C853E-D027-4183-864D-1C71215F695F}" dt="2017-12-05T18:20:00.096" v="509" actId="2696"/>
          <ac:spMkLst>
            <pc:docMk/>
            <pc:sldMk cId="3556834676" sldId="336"/>
            <ac:spMk id="383" creationId="{7FC7B7D9-9850-47E6-BCC1-566A50B5B920}"/>
          </ac:spMkLst>
        </pc:spChg>
        <pc:spChg chg="add">
          <ac:chgData name="Andy Roberts" userId="b6430d21-8e5e-4d9c-81e9-e1ae515d6d74" providerId="ADAL" clId="{356C853E-D027-4183-864D-1C71215F695F}" dt="2017-12-05T18:20:00.096" v="509" actId="2696"/>
          <ac:spMkLst>
            <pc:docMk/>
            <pc:sldMk cId="3556834676" sldId="336"/>
            <ac:spMk id="384" creationId="{C57975A1-F790-46CC-9AC4-5ABF6CE9E58A}"/>
          </ac:spMkLst>
        </pc:spChg>
        <pc:spChg chg="add">
          <ac:chgData name="Andy Roberts" userId="b6430d21-8e5e-4d9c-81e9-e1ae515d6d74" providerId="ADAL" clId="{356C853E-D027-4183-864D-1C71215F695F}" dt="2017-12-05T18:20:00.096" v="509" actId="2696"/>
          <ac:spMkLst>
            <pc:docMk/>
            <pc:sldMk cId="3556834676" sldId="336"/>
            <ac:spMk id="385" creationId="{3E7B239B-2F0B-4EC2-8D87-458F60BCB7A1}"/>
          </ac:spMkLst>
        </pc:spChg>
        <pc:spChg chg="add">
          <ac:chgData name="Andy Roberts" userId="b6430d21-8e5e-4d9c-81e9-e1ae515d6d74" providerId="ADAL" clId="{356C853E-D027-4183-864D-1C71215F695F}" dt="2017-12-05T18:20:00.096" v="509" actId="2696"/>
          <ac:spMkLst>
            <pc:docMk/>
            <pc:sldMk cId="3556834676" sldId="336"/>
            <ac:spMk id="386" creationId="{0BE20C63-579F-401A-BC6A-10205592A19D}"/>
          </ac:spMkLst>
        </pc:spChg>
        <pc:spChg chg="add">
          <ac:chgData name="Andy Roberts" userId="b6430d21-8e5e-4d9c-81e9-e1ae515d6d74" providerId="ADAL" clId="{356C853E-D027-4183-864D-1C71215F695F}" dt="2017-12-05T18:20:00.096" v="509" actId="2696"/>
          <ac:spMkLst>
            <pc:docMk/>
            <pc:sldMk cId="3556834676" sldId="336"/>
            <ac:spMk id="387" creationId="{F5BC6E9E-49BA-4A02-88A0-610605D740AF}"/>
          </ac:spMkLst>
        </pc:spChg>
        <pc:spChg chg="add">
          <ac:chgData name="Andy Roberts" userId="b6430d21-8e5e-4d9c-81e9-e1ae515d6d74" providerId="ADAL" clId="{356C853E-D027-4183-864D-1C71215F695F}" dt="2017-12-05T18:20:00.096" v="509" actId="2696"/>
          <ac:spMkLst>
            <pc:docMk/>
            <pc:sldMk cId="3556834676" sldId="336"/>
            <ac:spMk id="388" creationId="{EB273A76-496A-43A1-B9E6-95DFFD939E95}"/>
          </ac:spMkLst>
        </pc:spChg>
        <pc:spChg chg="add">
          <ac:chgData name="Andy Roberts" userId="b6430d21-8e5e-4d9c-81e9-e1ae515d6d74" providerId="ADAL" clId="{356C853E-D027-4183-864D-1C71215F695F}" dt="2017-12-05T18:20:00.096" v="509" actId="2696"/>
          <ac:spMkLst>
            <pc:docMk/>
            <pc:sldMk cId="3556834676" sldId="336"/>
            <ac:spMk id="389" creationId="{CD3BBE79-8C4B-4BD7-B50D-90038940E217}"/>
          </ac:spMkLst>
        </pc:spChg>
        <pc:spChg chg="add">
          <ac:chgData name="Andy Roberts" userId="b6430d21-8e5e-4d9c-81e9-e1ae515d6d74" providerId="ADAL" clId="{356C853E-D027-4183-864D-1C71215F695F}" dt="2017-12-05T18:20:00.096" v="509" actId="2696"/>
          <ac:spMkLst>
            <pc:docMk/>
            <pc:sldMk cId="3556834676" sldId="336"/>
            <ac:spMk id="390" creationId="{E0BB5729-9EA6-4C9A-9481-243C62F0A933}"/>
          </ac:spMkLst>
        </pc:spChg>
        <pc:spChg chg="add">
          <ac:chgData name="Andy Roberts" userId="b6430d21-8e5e-4d9c-81e9-e1ae515d6d74" providerId="ADAL" clId="{356C853E-D027-4183-864D-1C71215F695F}" dt="2017-12-05T18:20:00.096" v="509" actId="2696"/>
          <ac:spMkLst>
            <pc:docMk/>
            <pc:sldMk cId="3556834676" sldId="336"/>
            <ac:spMk id="391" creationId="{3DB11FFA-64F4-4788-A845-A0A830BDA6DF}"/>
          </ac:spMkLst>
        </pc:spChg>
        <pc:spChg chg="add">
          <ac:chgData name="Andy Roberts" userId="b6430d21-8e5e-4d9c-81e9-e1ae515d6d74" providerId="ADAL" clId="{356C853E-D027-4183-864D-1C71215F695F}" dt="2017-12-05T18:20:00.096" v="509" actId="2696"/>
          <ac:spMkLst>
            <pc:docMk/>
            <pc:sldMk cId="3556834676" sldId="336"/>
            <ac:spMk id="392" creationId="{CF5A560D-3BC1-4805-94AE-C8D1AC33729B}"/>
          </ac:spMkLst>
        </pc:spChg>
        <pc:spChg chg="add">
          <ac:chgData name="Andy Roberts" userId="b6430d21-8e5e-4d9c-81e9-e1ae515d6d74" providerId="ADAL" clId="{356C853E-D027-4183-864D-1C71215F695F}" dt="2017-12-05T18:20:00.096" v="509" actId="2696"/>
          <ac:spMkLst>
            <pc:docMk/>
            <pc:sldMk cId="3556834676" sldId="336"/>
            <ac:spMk id="393" creationId="{3BCDD70B-D1A6-48E1-9E2F-E462A9A8E41E}"/>
          </ac:spMkLst>
        </pc:spChg>
        <pc:spChg chg="add">
          <ac:chgData name="Andy Roberts" userId="b6430d21-8e5e-4d9c-81e9-e1ae515d6d74" providerId="ADAL" clId="{356C853E-D027-4183-864D-1C71215F695F}" dt="2017-12-05T18:20:00.096" v="509" actId="2696"/>
          <ac:spMkLst>
            <pc:docMk/>
            <pc:sldMk cId="3556834676" sldId="336"/>
            <ac:spMk id="394" creationId="{4FBF1DB7-6FD5-4879-9E6A-3FC4A70EBE53}"/>
          </ac:spMkLst>
        </pc:spChg>
        <pc:spChg chg="add">
          <ac:chgData name="Andy Roberts" userId="b6430d21-8e5e-4d9c-81e9-e1ae515d6d74" providerId="ADAL" clId="{356C853E-D027-4183-864D-1C71215F695F}" dt="2017-12-05T18:20:00.096" v="509" actId="2696"/>
          <ac:spMkLst>
            <pc:docMk/>
            <pc:sldMk cId="3556834676" sldId="336"/>
            <ac:spMk id="395" creationId="{D9BC2D79-96A9-459E-B34D-6D391FC22266}"/>
          </ac:spMkLst>
        </pc:spChg>
        <pc:spChg chg="add">
          <ac:chgData name="Andy Roberts" userId="b6430d21-8e5e-4d9c-81e9-e1ae515d6d74" providerId="ADAL" clId="{356C853E-D027-4183-864D-1C71215F695F}" dt="2017-12-05T18:20:00.096" v="509" actId="2696"/>
          <ac:spMkLst>
            <pc:docMk/>
            <pc:sldMk cId="3556834676" sldId="336"/>
            <ac:spMk id="396" creationId="{9548694C-5890-499A-B8FF-F795A8B1BB1E}"/>
          </ac:spMkLst>
        </pc:spChg>
        <pc:spChg chg="add">
          <ac:chgData name="Andy Roberts" userId="b6430d21-8e5e-4d9c-81e9-e1ae515d6d74" providerId="ADAL" clId="{356C853E-D027-4183-864D-1C71215F695F}" dt="2017-12-05T18:20:00.096" v="509" actId="2696"/>
          <ac:spMkLst>
            <pc:docMk/>
            <pc:sldMk cId="3556834676" sldId="336"/>
            <ac:spMk id="397" creationId="{865FC2AC-6652-4D0C-A324-276CF334EB4D}"/>
          </ac:spMkLst>
        </pc:spChg>
        <pc:spChg chg="add">
          <ac:chgData name="Andy Roberts" userId="b6430d21-8e5e-4d9c-81e9-e1ae515d6d74" providerId="ADAL" clId="{356C853E-D027-4183-864D-1C71215F695F}" dt="2017-12-05T18:20:00.096" v="509" actId="2696"/>
          <ac:spMkLst>
            <pc:docMk/>
            <pc:sldMk cId="3556834676" sldId="336"/>
            <ac:spMk id="398" creationId="{BBC3C020-E114-4ECE-A286-C5DA9141E58F}"/>
          </ac:spMkLst>
        </pc:spChg>
        <pc:spChg chg="add">
          <ac:chgData name="Andy Roberts" userId="b6430d21-8e5e-4d9c-81e9-e1ae515d6d74" providerId="ADAL" clId="{356C853E-D027-4183-864D-1C71215F695F}" dt="2017-12-05T18:20:00.096" v="509" actId="2696"/>
          <ac:spMkLst>
            <pc:docMk/>
            <pc:sldMk cId="3556834676" sldId="336"/>
            <ac:spMk id="399" creationId="{51D4A8E5-D801-48F3-9D85-42C1EEF2143F}"/>
          </ac:spMkLst>
        </pc:spChg>
        <pc:spChg chg="add">
          <ac:chgData name="Andy Roberts" userId="b6430d21-8e5e-4d9c-81e9-e1ae515d6d74" providerId="ADAL" clId="{356C853E-D027-4183-864D-1C71215F695F}" dt="2017-12-05T18:20:00.096" v="509" actId="2696"/>
          <ac:spMkLst>
            <pc:docMk/>
            <pc:sldMk cId="3556834676" sldId="336"/>
            <ac:spMk id="400" creationId="{B77A537F-AA18-4A45-86C4-D5E83F8CEA2F}"/>
          </ac:spMkLst>
        </pc:spChg>
        <pc:spChg chg="add">
          <ac:chgData name="Andy Roberts" userId="b6430d21-8e5e-4d9c-81e9-e1ae515d6d74" providerId="ADAL" clId="{356C853E-D027-4183-864D-1C71215F695F}" dt="2017-12-05T18:20:00.096" v="509" actId="2696"/>
          <ac:spMkLst>
            <pc:docMk/>
            <pc:sldMk cId="3556834676" sldId="336"/>
            <ac:spMk id="401" creationId="{0E89135F-16B4-41FD-A440-676EB967E73B}"/>
          </ac:spMkLst>
        </pc:spChg>
        <pc:spChg chg="add">
          <ac:chgData name="Andy Roberts" userId="b6430d21-8e5e-4d9c-81e9-e1ae515d6d74" providerId="ADAL" clId="{356C853E-D027-4183-864D-1C71215F695F}" dt="2017-12-05T18:20:00.096" v="509" actId="2696"/>
          <ac:spMkLst>
            <pc:docMk/>
            <pc:sldMk cId="3556834676" sldId="336"/>
            <ac:spMk id="402" creationId="{94D06313-E34E-400E-BD75-893385CD5722}"/>
          </ac:spMkLst>
        </pc:spChg>
        <pc:spChg chg="add">
          <ac:chgData name="Andy Roberts" userId="b6430d21-8e5e-4d9c-81e9-e1ae515d6d74" providerId="ADAL" clId="{356C853E-D027-4183-864D-1C71215F695F}" dt="2017-12-05T18:20:00.096" v="509" actId="2696"/>
          <ac:spMkLst>
            <pc:docMk/>
            <pc:sldMk cId="3556834676" sldId="336"/>
            <ac:spMk id="403" creationId="{6BF7B13E-1445-4984-978E-6BFBFF6E49DF}"/>
          </ac:spMkLst>
        </pc:spChg>
        <pc:spChg chg="add">
          <ac:chgData name="Andy Roberts" userId="b6430d21-8e5e-4d9c-81e9-e1ae515d6d74" providerId="ADAL" clId="{356C853E-D027-4183-864D-1C71215F695F}" dt="2017-12-05T18:20:00.096" v="509" actId="2696"/>
          <ac:spMkLst>
            <pc:docMk/>
            <pc:sldMk cId="3556834676" sldId="336"/>
            <ac:spMk id="404" creationId="{07D18392-9A40-4C8D-83D1-164B24BF0CE5}"/>
          </ac:spMkLst>
        </pc:spChg>
        <pc:spChg chg="add">
          <ac:chgData name="Andy Roberts" userId="b6430d21-8e5e-4d9c-81e9-e1ae515d6d74" providerId="ADAL" clId="{356C853E-D027-4183-864D-1C71215F695F}" dt="2017-12-05T18:20:00.096" v="509" actId="2696"/>
          <ac:spMkLst>
            <pc:docMk/>
            <pc:sldMk cId="3556834676" sldId="336"/>
            <ac:spMk id="405" creationId="{128BB8E7-FA27-4D80-BF36-F670A1CF509F}"/>
          </ac:spMkLst>
        </pc:spChg>
        <pc:spChg chg="add">
          <ac:chgData name="Andy Roberts" userId="b6430d21-8e5e-4d9c-81e9-e1ae515d6d74" providerId="ADAL" clId="{356C853E-D027-4183-864D-1C71215F695F}" dt="2017-12-05T18:20:00.096" v="509" actId="2696"/>
          <ac:spMkLst>
            <pc:docMk/>
            <pc:sldMk cId="3556834676" sldId="336"/>
            <ac:spMk id="406" creationId="{515AF965-CF1C-441E-A8A1-93EC65D1213D}"/>
          </ac:spMkLst>
        </pc:spChg>
        <pc:spChg chg="add">
          <ac:chgData name="Andy Roberts" userId="b6430d21-8e5e-4d9c-81e9-e1ae515d6d74" providerId="ADAL" clId="{356C853E-D027-4183-864D-1C71215F695F}" dt="2017-12-05T18:20:00.096" v="509" actId="2696"/>
          <ac:spMkLst>
            <pc:docMk/>
            <pc:sldMk cId="3556834676" sldId="336"/>
            <ac:spMk id="407" creationId="{97F915B5-FE28-4522-9436-B83CE04B0BBC}"/>
          </ac:spMkLst>
        </pc:spChg>
        <pc:spChg chg="add">
          <ac:chgData name="Andy Roberts" userId="b6430d21-8e5e-4d9c-81e9-e1ae515d6d74" providerId="ADAL" clId="{356C853E-D027-4183-864D-1C71215F695F}" dt="2017-12-05T18:20:00.096" v="509" actId="2696"/>
          <ac:spMkLst>
            <pc:docMk/>
            <pc:sldMk cId="3556834676" sldId="336"/>
            <ac:spMk id="408" creationId="{F45B73FD-6BFA-48D3-85AC-4DAC612C48B1}"/>
          </ac:spMkLst>
        </pc:spChg>
        <pc:spChg chg="add">
          <ac:chgData name="Andy Roberts" userId="b6430d21-8e5e-4d9c-81e9-e1ae515d6d74" providerId="ADAL" clId="{356C853E-D027-4183-864D-1C71215F695F}" dt="2017-12-05T18:20:00.096" v="509" actId="2696"/>
          <ac:spMkLst>
            <pc:docMk/>
            <pc:sldMk cId="3556834676" sldId="336"/>
            <ac:spMk id="409" creationId="{0FE3846C-8A80-4C9C-BCC4-F5859A3A92E1}"/>
          </ac:spMkLst>
        </pc:spChg>
        <pc:spChg chg="add">
          <ac:chgData name="Andy Roberts" userId="b6430d21-8e5e-4d9c-81e9-e1ae515d6d74" providerId="ADAL" clId="{356C853E-D027-4183-864D-1C71215F695F}" dt="2017-12-05T18:20:00.096" v="509" actId="2696"/>
          <ac:spMkLst>
            <pc:docMk/>
            <pc:sldMk cId="3556834676" sldId="336"/>
            <ac:spMk id="410" creationId="{5F485887-D80B-4D7B-9C8B-2412DF4EA38F}"/>
          </ac:spMkLst>
        </pc:spChg>
        <pc:spChg chg="add">
          <ac:chgData name="Andy Roberts" userId="b6430d21-8e5e-4d9c-81e9-e1ae515d6d74" providerId="ADAL" clId="{356C853E-D027-4183-864D-1C71215F695F}" dt="2017-12-05T18:20:00.096" v="509" actId="2696"/>
          <ac:spMkLst>
            <pc:docMk/>
            <pc:sldMk cId="3556834676" sldId="336"/>
            <ac:spMk id="411" creationId="{92139C56-A95E-41C6-835B-BC5875F3D9D9}"/>
          </ac:spMkLst>
        </pc:spChg>
        <pc:spChg chg="add">
          <ac:chgData name="Andy Roberts" userId="b6430d21-8e5e-4d9c-81e9-e1ae515d6d74" providerId="ADAL" clId="{356C853E-D027-4183-864D-1C71215F695F}" dt="2017-12-05T18:20:00.096" v="509" actId="2696"/>
          <ac:spMkLst>
            <pc:docMk/>
            <pc:sldMk cId="3556834676" sldId="336"/>
            <ac:spMk id="412" creationId="{973A0642-F7D7-4666-92FB-8160B1813496}"/>
          </ac:spMkLst>
        </pc:spChg>
        <pc:spChg chg="add">
          <ac:chgData name="Andy Roberts" userId="b6430d21-8e5e-4d9c-81e9-e1ae515d6d74" providerId="ADAL" clId="{356C853E-D027-4183-864D-1C71215F695F}" dt="2017-12-05T18:20:00.096" v="509" actId="2696"/>
          <ac:spMkLst>
            <pc:docMk/>
            <pc:sldMk cId="3556834676" sldId="336"/>
            <ac:spMk id="413" creationId="{79DB857A-0B08-44D8-870D-D6D4F4E2D0FB}"/>
          </ac:spMkLst>
        </pc:spChg>
        <pc:spChg chg="add">
          <ac:chgData name="Andy Roberts" userId="b6430d21-8e5e-4d9c-81e9-e1ae515d6d74" providerId="ADAL" clId="{356C853E-D027-4183-864D-1C71215F695F}" dt="2017-12-05T18:20:00.096" v="509" actId="2696"/>
          <ac:spMkLst>
            <pc:docMk/>
            <pc:sldMk cId="3556834676" sldId="336"/>
            <ac:spMk id="414" creationId="{6251B21C-D53A-46E2-BE9B-105BE0F69531}"/>
          </ac:spMkLst>
        </pc:spChg>
        <pc:spChg chg="add">
          <ac:chgData name="Andy Roberts" userId="b6430d21-8e5e-4d9c-81e9-e1ae515d6d74" providerId="ADAL" clId="{356C853E-D027-4183-864D-1C71215F695F}" dt="2017-12-05T18:20:00.096" v="509" actId="2696"/>
          <ac:spMkLst>
            <pc:docMk/>
            <pc:sldMk cId="3556834676" sldId="336"/>
            <ac:spMk id="415" creationId="{85F7BD91-CE36-48F0-8312-3B23E6CE4259}"/>
          </ac:spMkLst>
        </pc:spChg>
        <pc:spChg chg="add">
          <ac:chgData name="Andy Roberts" userId="b6430d21-8e5e-4d9c-81e9-e1ae515d6d74" providerId="ADAL" clId="{356C853E-D027-4183-864D-1C71215F695F}" dt="2017-12-05T18:20:00.096" v="509" actId="2696"/>
          <ac:spMkLst>
            <pc:docMk/>
            <pc:sldMk cId="3556834676" sldId="336"/>
            <ac:spMk id="416" creationId="{E7420F2C-256F-424B-8A8E-EB978189A714}"/>
          </ac:spMkLst>
        </pc:spChg>
        <pc:spChg chg="add">
          <ac:chgData name="Andy Roberts" userId="b6430d21-8e5e-4d9c-81e9-e1ae515d6d74" providerId="ADAL" clId="{356C853E-D027-4183-864D-1C71215F695F}" dt="2017-12-05T18:20:00.096" v="509" actId="2696"/>
          <ac:spMkLst>
            <pc:docMk/>
            <pc:sldMk cId="3556834676" sldId="336"/>
            <ac:spMk id="417" creationId="{C602D18D-4A7B-4A67-90DF-E8023ACF7F4D}"/>
          </ac:spMkLst>
        </pc:spChg>
        <pc:spChg chg="add">
          <ac:chgData name="Andy Roberts" userId="b6430d21-8e5e-4d9c-81e9-e1ae515d6d74" providerId="ADAL" clId="{356C853E-D027-4183-864D-1C71215F695F}" dt="2017-12-05T18:20:00.096" v="509" actId="2696"/>
          <ac:spMkLst>
            <pc:docMk/>
            <pc:sldMk cId="3556834676" sldId="336"/>
            <ac:spMk id="418" creationId="{DB8888EC-CA1C-4123-AEC7-BB939222F286}"/>
          </ac:spMkLst>
        </pc:spChg>
        <pc:spChg chg="add">
          <ac:chgData name="Andy Roberts" userId="b6430d21-8e5e-4d9c-81e9-e1ae515d6d74" providerId="ADAL" clId="{356C853E-D027-4183-864D-1C71215F695F}" dt="2017-12-05T18:20:00.096" v="509" actId="2696"/>
          <ac:spMkLst>
            <pc:docMk/>
            <pc:sldMk cId="3556834676" sldId="336"/>
            <ac:spMk id="419" creationId="{CACC8CC7-0691-4A84-A94B-4A0C1A3F769D}"/>
          </ac:spMkLst>
        </pc:spChg>
        <pc:spChg chg="add">
          <ac:chgData name="Andy Roberts" userId="b6430d21-8e5e-4d9c-81e9-e1ae515d6d74" providerId="ADAL" clId="{356C853E-D027-4183-864D-1C71215F695F}" dt="2017-12-05T18:20:00.096" v="509" actId="2696"/>
          <ac:spMkLst>
            <pc:docMk/>
            <pc:sldMk cId="3556834676" sldId="336"/>
            <ac:spMk id="420" creationId="{2AE4350D-FE83-4F15-8612-BDC9198447EC}"/>
          </ac:spMkLst>
        </pc:spChg>
        <pc:spChg chg="add">
          <ac:chgData name="Andy Roberts" userId="b6430d21-8e5e-4d9c-81e9-e1ae515d6d74" providerId="ADAL" clId="{356C853E-D027-4183-864D-1C71215F695F}" dt="2017-12-05T18:20:00.096" v="509" actId="2696"/>
          <ac:spMkLst>
            <pc:docMk/>
            <pc:sldMk cId="3556834676" sldId="336"/>
            <ac:spMk id="421" creationId="{41D364B6-C0F3-4B42-BD26-9A2004086EBC}"/>
          </ac:spMkLst>
        </pc:spChg>
        <pc:spChg chg="add">
          <ac:chgData name="Andy Roberts" userId="b6430d21-8e5e-4d9c-81e9-e1ae515d6d74" providerId="ADAL" clId="{356C853E-D027-4183-864D-1C71215F695F}" dt="2017-12-05T18:20:00.096" v="509" actId="2696"/>
          <ac:spMkLst>
            <pc:docMk/>
            <pc:sldMk cId="3556834676" sldId="336"/>
            <ac:spMk id="422" creationId="{129E1D91-0BB8-4C6D-818C-A8A039706E0A}"/>
          </ac:spMkLst>
        </pc:spChg>
        <pc:spChg chg="add">
          <ac:chgData name="Andy Roberts" userId="b6430d21-8e5e-4d9c-81e9-e1ae515d6d74" providerId="ADAL" clId="{356C853E-D027-4183-864D-1C71215F695F}" dt="2017-12-05T18:20:00.096" v="509" actId="2696"/>
          <ac:spMkLst>
            <pc:docMk/>
            <pc:sldMk cId="3556834676" sldId="336"/>
            <ac:spMk id="423" creationId="{D9663608-E18B-49E1-B892-57F6B4060FE3}"/>
          </ac:spMkLst>
        </pc:spChg>
        <pc:spChg chg="add">
          <ac:chgData name="Andy Roberts" userId="b6430d21-8e5e-4d9c-81e9-e1ae515d6d74" providerId="ADAL" clId="{356C853E-D027-4183-864D-1C71215F695F}" dt="2017-12-05T18:20:00.096" v="509" actId="2696"/>
          <ac:spMkLst>
            <pc:docMk/>
            <pc:sldMk cId="3556834676" sldId="336"/>
            <ac:spMk id="424" creationId="{B949E82A-F99B-4D35-B811-97E68CDC7FA8}"/>
          </ac:spMkLst>
        </pc:spChg>
        <pc:spChg chg="add">
          <ac:chgData name="Andy Roberts" userId="b6430d21-8e5e-4d9c-81e9-e1ae515d6d74" providerId="ADAL" clId="{356C853E-D027-4183-864D-1C71215F695F}" dt="2017-12-05T18:20:00.096" v="509" actId="2696"/>
          <ac:spMkLst>
            <pc:docMk/>
            <pc:sldMk cId="3556834676" sldId="336"/>
            <ac:spMk id="425" creationId="{64449984-4B18-43F7-8659-5FD193685AAD}"/>
          </ac:spMkLst>
        </pc:spChg>
        <pc:spChg chg="add">
          <ac:chgData name="Andy Roberts" userId="b6430d21-8e5e-4d9c-81e9-e1ae515d6d74" providerId="ADAL" clId="{356C853E-D027-4183-864D-1C71215F695F}" dt="2017-12-05T18:20:00.096" v="509" actId="2696"/>
          <ac:spMkLst>
            <pc:docMk/>
            <pc:sldMk cId="3556834676" sldId="336"/>
            <ac:spMk id="426" creationId="{6822757F-107C-40CB-ABA2-F81B889180AF}"/>
          </ac:spMkLst>
        </pc:spChg>
        <pc:spChg chg="add">
          <ac:chgData name="Andy Roberts" userId="b6430d21-8e5e-4d9c-81e9-e1ae515d6d74" providerId="ADAL" clId="{356C853E-D027-4183-864D-1C71215F695F}" dt="2017-12-05T18:20:00.096" v="509" actId="2696"/>
          <ac:spMkLst>
            <pc:docMk/>
            <pc:sldMk cId="3556834676" sldId="336"/>
            <ac:spMk id="427" creationId="{E3A80028-97FD-493F-ADC2-D5585CD6A6F9}"/>
          </ac:spMkLst>
        </pc:spChg>
        <pc:spChg chg="add">
          <ac:chgData name="Andy Roberts" userId="b6430d21-8e5e-4d9c-81e9-e1ae515d6d74" providerId="ADAL" clId="{356C853E-D027-4183-864D-1C71215F695F}" dt="2017-12-05T18:20:00.096" v="509" actId="2696"/>
          <ac:spMkLst>
            <pc:docMk/>
            <pc:sldMk cId="3556834676" sldId="336"/>
            <ac:spMk id="428" creationId="{221A907F-0498-4ED4-A0AA-642B93870798}"/>
          </ac:spMkLst>
        </pc:spChg>
        <pc:spChg chg="add">
          <ac:chgData name="Andy Roberts" userId="b6430d21-8e5e-4d9c-81e9-e1ae515d6d74" providerId="ADAL" clId="{356C853E-D027-4183-864D-1C71215F695F}" dt="2017-12-05T18:20:00.096" v="509" actId="2696"/>
          <ac:spMkLst>
            <pc:docMk/>
            <pc:sldMk cId="3556834676" sldId="336"/>
            <ac:spMk id="429" creationId="{B8D8B51C-51CF-4EDF-9455-B3BB12EAE4A2}"/>
          </ac:spMkLst>
        </pc:spChg>
        <pc:spChg chg="add">
          <ac:chgData name="Andy Roberts" userId="b6430d21-8e5e-4d9c-81e9-e1ae515d6d74" providerId="ADAL" clId="{356C853E-D027-4183-864D-1C71215F695F}" dt="2017-12-05T18:20:00.096" v="509" actId="2696"/>
          <ac:spMkLst>
            <pc:docMk/>
            <pc:sldMk cId="3556834676" sldId="336"/>
            <ac:spMk id="430" creationId="{AA901A72-4F85-49C1-B00C-3D8112A04686}"/>
          </ac:spMkLst>
        </pc:spChg>
        <pc:spChg chg="add">
          <ac:chgData name="Andy Roberts" userId="b6430d21-8e5e-4d9c-81e9-e1ae515d6d74" providerId="ADAL" clId="{356C853E-D027-4183-864D-1C71215F695F}" dt="2017-12-05T18:20:00.096" v="509" actId="2696"/>
          <ac:spMkLst>
            <pc:docMk/>
            <pc:sldMk cId="3556834676" sldId="336"/>
            <ac:spMk id="431" creationId="{1FFDBC70-FE25-4AFD-BF6C-90F011769C62}"/>
          </ac:spMkLst>
        </pc:spChg>
        <pc:spChg chg="add">
          <ac:chgData name="Andy Roberts" userId="b6430d21-8e5e-4d9c-81e9-e1ae515d6d74" providerId="ADAL" clId="{356C853E-D027-4183-864D-1C71215F695F}" dt="2017-12-05T18:20:00.096" v="509" actId="2696"/>
          <ac:spMkLst>
            <pc:docMk/>
            <pc:sldMk cId="3556834676" sldId="336"/>
            <ac:spMk id="432" creationId="{787914E2-4F0F-4EB6-A746-4330F5AA7814}"/>
          </ac:spMkLst>
        </pc:spChg>
        <pc:spChg chg="add">
          <ac:chgData name="Andy Roberts" userId="b6430d21-8e5e-4d9c-81e9-e1ae515d6d74" providerId="ADAL" clId="{356C853E-D027-4183-864D-1C71215F695F}" dt="2017-12-05T18:20:00.096" v="509" actId="2696"/>
          <ac:spMkLst>
            <pc:docMk/>
            <pc:sldMk cId="3556834676" sldId="336"/>
            <ac:spMk id="433" creationId="{735F41E0-BACA-4F80-B3CD-EEED2A3C3222}"/>
          </ac:spMkLst>
        </pc:spChg>
        <pc:spChg chg="add">
          <ac:chgData name="Andy Roberts" userId="b6430d21-8e5e-4d9c-81e9-e1ae515d6d74" providerId="ADAL" clId="{356C853E-D027-4183-864D-1C71215F695F}" dt="2017-12-05T18:20:00.096" v="509" actId="2696"/>
          <ac:spMkLst>
            <pc:docMk/>
            <pc:sldMk cId="3556834676" sldId="336"/>
            <ac:spMk id="434" creationId="{B292D934-5929-49B9-9C87-CE23D5B5271C}"/>
          </ac:spMkLst>
        </pc:spChg>
        <pc:spChg chg="add">
          <ac:chgData name="Andy Roberts" userId="b6430d21-8e5e-4d9c-81e9-e1ae515d6d74" providerId="ADAL" clId="{356C853E-D027-4183-864D-1C71215F695F}" dt="2017-12-05T18:20:00.096" v="509" actId="2696"/>
          <ac:spMkLst>
            <pc:docMk/>
            <pc:sldMk cId="3556834676" sldId="336"/>
            <ac:spMk id="435" creationId="{3CFDF5E7-8659-4AFE-91FC-C0445E7F3AFA}"/>
          </ac:spMkLst>
        </pc:spChg>
        <pc:spChg chg="add">
          <ac:chgData name="Andy Roberts" userId="b6430d21-8e5e-4d9c-81e9-e1ae515d6d74" providerId="ADAL" clId="{356C853E-D027-4183-864D-1C71215F695F}" dt="2017-12-05T18:20:00.096" v="509" actId="2696"/>
          <ac:spMkLst>
            <pc:docMk/>
            <pc:sldMk cId="3556834676" sldId="336"/>
            <ac:spMk id="436" creationId="{6C46CCD6-6B16-45F5-A028-6275CEEB26F3}"/>
          </ac:spMkLst>
        </pc:spChg>
        <pc:spChg chg="add">
          <ac:chgData name="Andy Roberts" userId="b6430d21-8e5e-4d9c-81e9-e1ae515d6d74" providerId="ADAL" clId="{356C853E-D027-4183-864D-1C71215F695F}" dt="2017-12-05T18:20:00.096" v="509" actId="2696"/>
          <ac:spMkLst>
            <pc:docMk/>
            <pc:sldMk cId="3556834676" sldId="336"/>
            <ac:spMk id="437" creationId="{A2717416-49F3-4A86-AEDB-22C77148AC75}"/>
          </ac:spMkLst>
        </pc:spChg>
        <pc:spChg chg="add">
          <ac:chgData name="Andy Roberts" userId="b6430d21-8e5e-4d9c-81e9-e1ae515d6d74" providerId="ADAL" clId="{356C853E-D027-4183-864D-1C71215F695F}" dt="2017-12-05T18:20:00.096" v="509" actId="2696"/>
          <ac:spMkLst>
            <pc:docMk/>
            <pc:sldMk cId="3556834676" sldId="336"/>
            <ac:spMk id="438" creationId="{3EEF762D-3FF1-4C3C-97BD-04C80A47D76B}"/>
          </ac:spMkLst>
        </pc:spChg>
        <pc:spChg chg="add del">
          <ac:chgData name="Andy Roberts" userId="b6430d21-8e5e-4d9c-81e9-e1ae515d6d74" providerId="ADAL" clId="{356C853E-D027-4183-864D-1C71215F695F}" dt="2017-12-05T18:20:41.259" v="518" actId="2696"/>
          <ac:spMkLst>
            <pc:docMk/>
            <pc:sldMk cId="3556834676" sldId="336"/>
            <ac:spMk id="439" creationId="{167CB5DD-7218-459C-B41E-5CAD938016A9}"/>
          </ac:spMkLst>
        </pc:spChg>
        <pc:spChg chg="add">
          <ac:chgData name="Andy Roberts" userId="b6430d21-8e5e-4d9c-81e9-e1ae515d6d74" providerId="ADAL" clId="{356C853E-D027-4183-864D-1C71215F695F}" dt="2017-12-05T18:20:41.267" v="519" actId="2696"/>
          <ac:spMkLst>
            <pc:docMk/>
            <pc:sldMk cId="3556834676" sldId="336"/>
            <ac:spMk id="440" creationId="{CBB39C37-CABE-472C-8E1B-3A69C4833EF4}"/>
          </ac:spMkLst>
        </pc:spChg>
        <pc:grpChg chg="add mod">
          <ac:chgData name="Andy Roberts" userId="b6430d21-8e5e-4d9c-81e9-e1ae515d6d74" providerId="ADAL" clId="{356C853E-D027-4183-864D-1C71215F695F}" dt="2017-12-05T18:19:46.183" v="502" actId="2696"/>
          <ac:grpSpMkLst>
            <pc:docMk/>
            <pc:sldMk cId="3556834676" sldId="336"/>
            <ac:grpSpMk id="6" creationId="{C424969A-50EB-46E9-94B7-A1F02BD890A6}"/>
          </ac:grpSpMkLst>
        </pc:grpChg>
        <pc:grpChg chg="add mod">
          <ac:chgData name="Andy Roberts" userId="b6430d21-8e5e-4d9c-81e9-e1ae515d6d74" providerId="ADAL" clId="{356C853E-D027-4183-864D-1C71215F695F}" dt="2017-12-05T18:19:46.183" v="502" actId="2696"/>
          <ac:grpSpMkLst>
            <pc:docMk/>
            <pc:sldMk cId="3556834676" sldId="336"/>
            <ac:grpSpMk id="39" creationId="{A3B90B89-919D-49F0-8758-20F1EBF73E8B}"/>
          </ac:grpSpMkLst>
        </pc:grpChg>
        <pc:grpChg chg="add mod">
          <ac:chgData name="Andy Roberts" userId="b6430d21-8e5e-4d9c-81e9-e1ae515d6d74" providerId="ADAL" clId="{356C853E-D027-4183-864D-1C71215F695F}" dt="2017-12-05T18:19:46.183" v="502" actId="2696"/>
          <ac:grpSpMkLst>
            <pc:docMk/>
            <pc:sldMk cId="3556834676" sldId="336"/>
            <ac:grpSpMk id="40" creationId="{B73AA018-6BE9-4A03-BFB5-9021B58A091D}"/>
          </ac:grpSpMkLst>
        </pc:grpChg>
        <pc:grpChg chg="add mod">
          <ac:chgData name="Andy Roberts" userId="b6430d21-8e5e-4d9c-81e9-e1ae515d6d74" providerId="ADAL" clId="{356C853E-D027-4183-864D-1C71215F695F}" dt="2017-12-05T18:19:46.183" v="502" actId="2696"/>
          <ac:grpSpMkLst>
            <pc:docMk/>
            <pc:sldMk cId="3556834676" sldId="336"/>
            <ac:grpSpMk id="41" creationId="{AF1B46CB-1471-4BDC-B47E-9A1FF3F1FBAB}"/>
          </ac:grpSpMkLst>
        </pc:grpChg>
        <pc:grpChg chg="add mod">
          <ac:chgData name="Andy Roberts" userId="b6430d21-8e5e-4d9c-81e9-e1ae515d6d74" providerId="ADAL" clId="{356C853E-D027-4183-864D-1C71215F695F}" dt="2017-12-05T18:19:46.183" v="502" actId="2696"/>
          <ac:grpSpMkLst>
            <pc:docMk/>
            <pc:sldMk cId="3556834676" sldId="336"/>
            <ac:grpSpMk id="42" creationId="{3ECD3823-97EA-44AE-B114-E55280C3AC8B}"/>
          </ac:grpSpMkLst>
        </pc:grpChg>
        <pc:grpChg chg="add mod">
          <ac:chgData name="Andy Roberts" userId="b6430d21-8e5e-4d9c-81e9-e1ae515d6d74" providerId="ADAL" clId="{356C853E-D027-4183-864D-1C71215F695F}" dt="2017-12-05T18:19:46.183" v="502" actId="2696"/>
          <ac:grpSpMkLst>
            <pc:docMk/>
            <pc:sldMk cId="3556834676" sldId="336"/>
            <ac:grpSpMk id="43" creationId="{66F542E6-3923-49A0-A080-F400547D8502}"/>
          </ac:grpSpMkLst>
        </pc:grpChg>
        <pc:grpChg chg="add mod">
          <ac:chgData name="Andy Roberts" userId="b6430d21-8e5e-4d9c-81e9-e1ae515d6d74" providerId="ADAL" clId="{356C853E-D027-4183-864D-1C71215F695F}" dt="2017-12-05T18:19:46.183" v="502" actId="2696"/>
          <ac:grpSpMkLst>
            <pc:docMk/>
            <pc:sldMk cId="3556834676" sldId="336"/>
            <ac:grpSpMk id="44" creationId="{C6497E96-42E4-4DD6-8760-6E33D144ED6B}"/>
          </ac:grpSpMkLst>
        </pc:grpChg>
        <pc:grpChg chg="add mod">
          <ac:chgData name="Andy Roberts" userId="b6430d21-8e5e-4d9c-81e9-e1ae515d6d74" providerId="ADAL" clId="{356C853E-D027-4183-864D-1C71215F695F}" dt="2017-12-05T18:19:46.183" v="502" actId="2696"/>
          <ac:grpSpMkLst>
            <pc:docMk/>
            <pc:sldMk cId="3556834676" sldId="336"/>
            <ac:grpSpMk id="45" creationId="{88634BA3-3BD9-425E-AFD8-E035CE26B712}"/>
          </ac:grpSpMkLst>
        </pc:grpChg>
        <pc:grpChg chg="add mod">
          <ac:chgData name="Andy Roberts" userId="b6430d21-8e5e-4d9c-81e9-e1ae515d6d74" providerId="ADAL" clId="{356C853E-D027-4183-864D-1C71215F695F}" dt="2017-12-05T18:19:46.183" v="502" actId="2696"/>
          <ac:grpSpMkLst>
            <pc:docMk/>
            <pc:sldMk cId="3556834676" sldId="336"/>
            <ac:grpSpMk id="46" creationId="{010C25D4-586E-4A5E-A733-F3CF77AC974D}"/>
          </ac:grpSpMkLst>
        </pc:grpChg>
        <pc:grpChg chg="add mod">
          <ac:chgData name="Andy Roberts" userId="b6430d21-8e5e-4d9c-81e9-e1ae515d6d74" providerId="ADAL" clId="{356C853E-D027-4183-864D-1C71215F695F}" dt="2017-12-05T18:19:46.183" v="502" actId="2696"/>
          <ac:grpSpMkLst>
            <pc:docMk/>
            <pc:sldMk cId="3556834676" sldId="336"/>
            <ac:grpSpMk id="47" creationId="{25135AB5-793F-4175-A313-0F0A83227FF0}"/>
          </ac:grpSpMkLst>
        </pc:grpChg>
        <pc:grpChg chg="add mod">
          <ac:chgData name="Andy Roberts" userId="b6430d21-8e5e-4d9c-81e9-e1ae515d6d74" providerId="ADAL" clId="{356C853E-D027-4183-864D-1C71215F695F}" dt="2017-12-05T18:19:46.183" v="502" actId="2696"/>
          <ac:grpSpMkLst>
            <pc:docMk/>
            <pc:sldMk cId="3556834676" sldId="336"/>
            <ac:grpSpMk id="48" creationId="{FD3640E3-2774-4E44-8379-B0E37DE2177F}"/>
          </ac:grpSpMkLst>
        </pc:grpChg>
        <pc:grpChg chg="add mod">
          <ac:chgData name="Andy Roberts" userId="b6430d21-8e5e-4d9c-81e9-e1ae515d6d74" providerId="ADAL" clId="{356C853E-D027-4183-864D-1C71215F695F}" dt="2017-12-05T18:19:58.012" v="507" actId="2696"/>
          <ac:grpSpMkLst>
            <pc:docMk/>
            <pc:sldMk cId="3556834676" sldId="336"/>
            <ac:grpSpMk id="151" creationId="{720D4D95-5F51-4EE6-834C-387033714ABD}"/>
          </ac:grpSpMkLst>
        </pc:grpChg>
        <pc:grpChg chg="add mod">
          <ac:chgData name="Andy Roberts" userId="b6430d21-8e5e-4d9c-81e9-e1ae515d6d74" providerId="ADAL" clId="{356C853E-D027-4183-864D-1C71215F695F}" dt="2017-12-05T18:19:57.984" v="506" actId="2696"/>
          <ac:grpSpMkLst>
            <pc:docMk/>
            <pc:sldMk cId="3556834676" sldId="336"/>
            <ac:grpSpMk id="184" creationId="{FA6C09C8-EBBF-469F-8106-EF3FC3E4037A}"/>
          </ac:grpSpMkLst>
        </pc:grpChg>
        <pc:grpChg chg="add mod">
          <ac:chgData name="Andy Roberts" userId="b6430d21-8e5e-4d9c-81e9-e1ae515d6d74" providerId="ADAL" clId="{356C853E-D027-4183-864D-1C71215F695F}" dt="2017-12-05T18:19:57.984" v="506" actId="2696"/>
          <ac:grpSpMkLst>
            <pc:docMk/>
            <pc:sldMk cId="3556834676" sldId="336"/>
            <ac:grpSpMk id="185" creationId="{8741DAF1-1451-4B00-B18E-DA6ECB54FED0}"/>
          </ac:grpSpMkLst>
        </pc:grpChg>
        <pc:grpChg chg="add mod">
          <ac:chgData name="Andy Roberts" userId="b6430d21-8e5e-4d9c-81e9-e1ae515d6d74" providerId="ADAL" clId="{356C853E-D027-4183-864D-1C71215F695F}" dt="2017-12-05T18:19:57.984" v="506" actId="2696"/>
          <ac:grpSpMkLst>
            <pc:docMk/>
            <pc:sldMk cId="3556834676" sldId="336"/>
            <ac:grpSpMk id="186" creationId="{6C48E186-F3F4-4195-825D-865779196622}"/>
          </ac:grpSpMkLst>
        </pc:grpChg>
        <pc:grpChg chg="add mod">
          <ac:chgData name="Andy Roberts" userId="b6430d21-8e5e-4d9c-81e9-e1ae515d6d74" providerId="ADAL" clId="{356C853E-D027-4183-864D-1C71215F695F}" dt="2017-12-05T18:19:57.984" v="506" actId="2696"/>
          <ac:grpSpMkLst>
            <pc:docMk/>
            <pc:sldMk cId="3556834676" sldId="336"/>
            <ac:grpSpMk id="187" creationId="{1045983E-FF96-4054-9492-8B194E6E373F}"/>
          </ac:grpSpMkLst>
        </pc:grpChg>
        <pc:grpChg chg="add mod">
          <ac:chgData name="Andy Roberts" userId="b6430d21-8e5e-4d9c-81e9-e1ae515d6d74" providerId="ADAL" clId="{356C853E-D027-4183-864D-1C71215F695F}" dt="2017-12-05T18:19:57.984" v="506" actId="2696"/>
          <ac:grpSpMkLst>
            <pc:docMk/>
            <pc:sldMk cId="3556834676" sldId="336"/>
            <ac:grpSpMk id="188" creationId="{6CA6BAFA-CA15-4F59-8AA8-B90BE5965C2E}"/>
          </ac:grpSpMkLst>
        </pc:grpChg>
        <pc:grpChg chg="add mod">
          <ac:chgData name="Andy Roberts" userId="b6430d21-8e5e-4d9c-81e9-e1ae515d6d74" providerId="ADAL" clId="{356C853E-D027-4183-864D-1C71215F695F}" dt="2017-12-05T18:19:57.984" v="506" actId="2696"/>
          <ac:grpSpMkLst>
            <pc:docMk/>
            <pc:sldMk cId="3556834676" sldId="336"/>
            <ac:grpSpMk id="189" creationId="{5E82D47E-739C-4E0D-A68D-19EC76510362}"/>
          </ac:grpSpMkLst>
        </pc:grpChg>
        <pc:grpChg chg="add mod">
          <ac:chgData name="Andy Roberts" userId="b6430d21-8e5e-4d9c-81e9-e1ae515d6d74" providerId="ADAL" clId="{356C853E-D027-4183-864D-1C71215F695F}" dt="2017-12-05T18:19:57.984" v="506" actId="2696"/>
          <ac:grpSpMkLst>
            <pc:docMk/>
            <pc:sldMk cId="3556834676" sldId="336"/>
            <ac:grpSpMk id="190" creationId="{8E35B0CF-90C9-4F74-A392-186F4D39F92B}"/>
          </ac:grpSpMkLst>
        </pc:grpChg>
        <pc:grpChg chg="add mod">
          <ac:chgData name="Andy Roberts" userId="b6430d21-8e5e-4d9c-81e9-e1ae515d6d74" providerId="ADAL" clId="{356C853E-D027-4183-864D-1C71215F695F}" dt="2017-12-05T18:19:57.984" v="506" actId="2696"/>
          <ac:grpSpMkLst>
            <pc:docMk/>
            <pc:sldMk cId="3556834676" sldId="336"/>
            <ac:grpSpMk id="191" creationId="{33808D91-8A00-407B-A39F-EA46BA68DB7F}"/>
          </ac:grpSpMkLst>
        </pc:grpChg>
        <pc:grpChg chg="add mod">
          <ac:chgData name="Andy Roberts" userId="b6430d21-8e5e-4d9c-81e9-e1ae515d6d74" providerId="ADAL" clId="{356C853E-D027-4183-864D-1C71215F695F}" dt="2017-12-05T18:19:57.984" v="506" actId="2696"/>
          <ac:grpSpMkLst>
            <pc:docMk/>
            <pc:sldMk cId="3556834676" sldId="336"/>
            <ac:grpSpMk id="192" creationId="{A9513231-B379-407A-BA6B-AF93D8A8ED10}"/>
          </ac:grpSpMkLst>
        </pc:grpChg>
        <pc:grpChg chg="add mod">
          <ac:chgData name="Andy Roberts" userId="b6430d21-8e5e-4d9c-81e9-e1ae515d6d74" providerId="ADAL" clId="{356C853E-D027-4183-864D-1C71215F695F}" dt="2017-12-05T18:19:57.984" v="506" actId="2696"/>
          <ac:grpSpMkLst>
            <pc:docMk/>
            <pc:sldMk cId="3556834676" sldId="336"/>
            <ac:grpSpMk id="193" creationId="{FF324605-E735-4A54-AFB8-215664FE6331}"/>
          </ac:grpSpMkLst>
        </pc:grpChg>
        <pc:grpChg chg="add del mod">
          <ac:chgData name="Andy Roberts" userId="b6430d21-8e5e-4d9c-81e9-e1ae515d6d74" providerId="ADAL" clId="{356C853E-D027-4183-864D-1C71215F695F}" dt="2017-12-05T18:20:05.617" v="511" actId="478"/>
          <ac:grpSpMkLst>
            <pc:docMk/>
            <pc:sldMk cId="3556834676" sldId="336"/>
            <ac:grpSpMk id="296" creationId="{5D7D929E-4C14-4FC9-8FE0-F2AED088FD64}"/>
          </ac:grpSpMkLst>
        </pc:grpChg>
        <pc:grpChg chg="add mod">
          <ac:chgData name="Andy Roberts" userId="b6430d21-8e5e-4d9c-81e9-e1ae515d6d74" providerId="ADAL" clId="{356C853E-D027-4183-864D-1C71215F695F}" dt="2017-12-05T18:20:00.096" v="509" actId="2696"/>
          <ac:grpSpMkLst>
            <pc:docMk/>
            <pc:sldMk cId="3556834676" sldId="336"/>
            <ac:grpSpMk id="329" creationId="{69A22844-39DD-4017-AE27-38420B11EFFB}"/>
          </ac:grpSpMkLst>
        </pc:grpChg>
        <pc:grpChg chg="add mod">
          <ac:chgData name="Andy Roberts" userId="b6430d21-8e5e-4d9c-81e9-e1ae515d6d74" providerId="ADAL" clId="{356C853E-D027-4183-864D-1C71215F695F}" dt="2017-12-05T18:20:00.096" v="509" actId="2696"/>
          <ac:grpSpMkLst>
            <pc:docMk/>
            <pc:sldMk cId="3556834676" sldId="336"/>
            <ac:grpSpMk id="330" creationId="{2B8BF1C6-24F3-4A2A-8700-24DA42A7E052}"/>
          </ac:grpSpMkLst>
        </pc:grpChg>
        <pc:grpChg chg="add mod">
          <ac:chgData name="Andy Roberts" userId="b6430d21-8e5e-4d9c-81e9-e1ae515d6d74" providerId="ADAL" clId="{356C853E-D027-4183-864D-1C71215F695F}" dt="2017-12-05T18:20:00.096" v="509" actId="2696"/>
          <ac:grpSpMkLst>
            <pc:docMk/>
            <pc:sldMk cId="3556834676" sldId="336"/>
            <ac:grpSpMk id="331" creationId="{7272693D-6641-4FAB-9BB1-7082A0F7DD69}"/>
          </ac:grpSpMkLst>
        </pc:grpChg>
        <pc:grpChg chg="add mod">
          <ac:chgData name="Andy Roberts" userId="b6430d21-8e5e-4d9c-81e9-e1ae515d6d74" providerId="ADAL" clId="{356C853E-D027-4183-864D-1C71215F695F}" dt="2017-12-05T18:20:00.096" v="509" actId="2696"/>
          <ac:grpSpMkLst>
            <pc:docMk/>
            <pc:sldMk cId="3556834676" sldId="336"/>
            <ac:grpSpMk id="332" creationId="{BD117F13-28B9-474B-8E49-A61720C849FC}"/>
          </ac:grpSpMkLst>
        </pc:grpChg>
        <pc:grpChg chg="add mod">
          <ac:chgData name="Andy Roberts" userId="b6430d21-8e5e-4d9c-81e9-e1ae515d6d74" providerId="ADAL" clId="{356C853E-D027-4183-864D-1C71215F695F}" dt="2017-12-05T18:20:00.096" v="509" actId="2696"/>
          <ac:grpSpMkLst>
            <pc:docMk/>
            <pc:sldMk cId="3556834676" sldId="336"/>
            <ac:grpSpMk id="333" creationId="{1C9EC414-337C-4565-BC3D-A6D3F7755B4F}"/>
          </ac:grpSpMkLst>
        </pc:grpChg>
        <pc:grpChg chg="add mod">
          <ac:chgData name="Andy Roberts" userId="b6430d21-8e5e-4d9c-81e9-e1ae515d6d74" providerId="ADAL" clId="{356C853E-D027-4183-864D-1C71215F695F}" dt="2017-12-05T18:20:00.096" v="509" actId="2696"/>
          <ac:grpSpMkLst>
            <pc:docMk/>
            <pc:sldMk cId="3556834676" sldId="336"/>
            <ac:grpSpMk id="334" creationId="{6054E6C2-1133-4B08-98E7-04B5B8048A28}"/>
          </ac:grpSpMkLst>
        </pc:grpChg>
        <pc:grpChg chg="add mod">
          <ac:chgData name="Andy Roberts" userId="b6430d21-8e5e-4d9c-81e9-e1ae515d6d74" providerId="ADAL" clId="{356C853E-D027-4183-864D-1C71215F695F}" dt="2017-12-05T18:20:00.096" v="509" actId="2696"/>
          <ac:grpSpMkLst>
            <pc:docMk/>
            <pc:sldMk cId="3556834676" sldId="336"/>
            <ac:grpSpMk id="335" creationId="{00CC6EF4-3470-4318-A092-76B47CEAEA70}"/>
          </ac:grpSpMkLst>
        </pc:grpChg>
        <pc:grpChg chg="add mod">
          <ac:chgData name="Andy Roberts" userId="b6430d21-8e5e-4d9c-81e9-e1ae515d6d74" providerId="ADAL" clId="{356C853E-D027-4183-864D-1C71215F695F}" dt="2017-12-05T18:20:00.096" v="509" actId="2696"/>
          <ac:grpSpMkLst>
            <pc:docMk/>
            <pc:sldMk cId="3556834676" sldId="336"/>
            <ac:grpSpMk id="336" creationId="{5AF375A4-E19B-4BC5-9BE8-7FA0F0308125}"/>
          </ac:grpSpMkLst>
        </pc:grpChg>
        <pc:grpChg chg="add mod">
          <ac:chgData name="Andy Roberts" userId="b6430d21-8e5e-4d9c-81e9-e1ae515d6d74" providerId="ADAL" clId="{356C853E-D027-4183-864D-1C71215F695F}" dt="2017-12-05T18:20:00.096" v="509" actId="2696"/>
          <ac:grpSpMkLst>
            <pc:docMk/>
            <pc:sldMk cId="3556834676" sldId="336"/>
            <ac:grpSpMk id="337" creationId="{4E044037-B78F-40FF-8445-8313F5A5C41B}"/>
          </ac:grpSpMkLst>
        </pc:grpChg>
        <pc:grpChg chg="add mod">
          <ac:chgData name="Andy Roberts" userId="b6430d21-8e5e-4d9c-81e9-e1ae515d6d74" providerId="ADAL" clId="{356C853E-D027-4183-864D-1C71215F695F}" dt="2017-12-05T18:20:00.096" v="509" actId="2696"/>
          <ac:grpSpMkLst>
            <pc:docMk/>
            <pc:sldMk cId="3556834676" sldId="336"/>
            <ac:grpSpMk id="338" creationId="{B8595C30-CC6E-4A59-AF9D-9E1660A8A35A}"/>
          </ac:grpSpMkLst>
        </pc:grpChg>
        <pc:cxnChg chg="add">
          <ac:chgData name="Andy Roberts" userId="b6430d21-8e5e-4d9c-81e9-e1ae515d6d74" providerId="ADAL" clId="{356C853E-D027-4183-864D-1C71215F695F}" dt="2017-12-05T18:19:09.011" v="493" actId="2696"/>
          <ac:cxnSpMkLst>
            <pc:docMk/>
            <pc:sldMk cId="3556834676" sldId="336"/>
            <ac:cxnSpMk id="17" creationId="{5A6BAA92-FC03-4E6D-98A3-559123EE04BD}"/>
          </ac:cxnSpMkLst>
        </pc:cxnChg>
        <pc:cxnChg chg="add">
          <ac:chgData name="Andy Roberts" userId="b6430d21-8e5e-4d9c-81e9-e1ae515d6d74" providerId="ADAL" clId="{356C853E-D027-4183-864D-1C71215F695F}" dt="2017-12-05T18:19:09.011" v="493" actId="2696"/>
          <ac:cxnSpMkLst>
            <pc:docMk/>
            <pc:sldMk cId="3556834676" sldId="336"/>
            <ac:cxnSpMk id="18" creationId="{166D059A-328C-4DA2-B2DD-271A06EFF5FF}"/>
          </ac:cxnSpMkLst>
        </pc:cxnChg>
        <pc:cxnChg chg="add">
          <ac:chgData name="Andy Roberts" userId="b6430d21-8e5e-4d9c-81e9-e1ae515d6d74" providerId="ADAL" clId="{356C853E-D027-4183-864D-1C71215F695F}" dt="2017-12-05T18:19:09.011" v="493" actId="2696"/>
          <ac:cxnSpMkLst>
            <pc:docMk/>
            <pc:sldMk cId="3556834676" sldId="336"/>
            <ac:cxnSpMk id="19" creationId="{B5C5E73B-D8EE-427A-AEB4-1C58EBAFC5D9}"/>
          </ac:cxnSpMkLst>
        </pc:cxnChg>
        <pc:cxnChg chg="add">
          <ac:chgData name="Andy Roberts" userId="b6430d21-8e5e-4d9c-81e9-e1ae515d6d74" providerId="ADAL" clId="{356C853E-D027-4183-864D-1C71215F695F}" dt="2017-12-05T18:19:09.011" v="493" actId="2696"/>
          <ac:cxnSpMkLst>
            <pc:docMk/>
            <pc:sldMk cId="3556834676" sldId="336"/>
            <ac:cxnSpMk id="30" creationId="{6688044F-46ED-430B-B30E-D07ABF37346E}"/>
          </ac:cxnSpMkLst>
        </pc:cxnChg>
        <pc:cxnChg chg="add">
          <ac:chgData name="Andy Roberts" userId="b6430d21-8e5e-4d9c-81e9-e1ae515d6d74" providerId="ADAL" clId="{356C853E-D027-4183-864D-1C71215F695F}" dt="2017-12-05T18:19:09.011" v="493" actId="2696"/>
          <ac:cxnSpMkLst>
            <pc:docMk/>
            <pc:sldMk cId="3556834676" sldId="336"/>
            <ac:cxnSpMk id="31" creationId="{32877F15-A12F-4169-9088-F0E6D4ADD571}"/>
          </ac:cxnSpMkLst>
        </pc:cxnChg>
        <pc:cxnChg chg="add">
          <ac:chgData name="Andy Roberts" userId="b6430d21-8e5e-4d9c-81e9-e1ae515d6d74" providerId="ADAL" clId="{356C853E-D027-4183-864D-1C71215F695F}" dt="2017-12-05T18:19:09.011" v="493" actId="2696"/>
          <ac:cxnSpMkLst>
            <pc:docMk/>
            <pc:sldMk cId="3556834676" sldId="336"/>
            <ac:cxnSpMk id="32" creationId="{7A189F5E-925C-43C5-8D8C-2B87225A4AAB}"/>
          </ac:cxnSpMkLst>
        </pc:cxnChg>
        <pc:cxnChg chg="add">
          <ac:chgData name="Andy Roberts" userId="b6430d21-8e5e-4d9c-81e9-e1ae515d6d74" providerId="ADAL" clId="{356C853E-D027-4183-864D-1C71215F695F}" dt="2017-12-05T18:19:09.011" v="493" actId="2696"/>
          <ac:cxnSpMkLst>
            <pc:docMk/>
            <pc:sldMk cId="3556834676" sldId="336"/>
            <ac:cxnSpMk id="33" creationId="{7332EC34-8F6D-4730-AEF0-E4C6FF8AB18B}"/>
          </ac:cxnSpMkLst>
        </pc:cxnChg>
        <pc:cxnChg chg="add">
          <ac:chgData name="Andy Roberts" userId="b6430d21-8e5e-4d9c-81e9-e1ae515d6d74" providerId="ADAL" clId="{356C853E-D027-4183-864D-1C71215F695F}" dt="2017-12-05T18:19:09.011" v="493" actId="2696"/>
          <ac:cxnSpMkLst>
            <pc:docMk/>
            <pc:sldMk cId="3556834676" sldId="336"/>
            <ac:cxnSpMk id="34" creationId="{FB01D860-1640-4D54-ABB9-6AE503D2803A}"/>
          </ac:cxnSpMkLst>
        </pc:cxnChg>
        <pc:cxnChg chg="add">
          <ac:chgData name="Andy Roberts" userId="b6430d21-8e5e-4d9c-81e9-e1ae515d6d74" providerId="ADAL" clId="{356C853E-D027-4183-864D-1C71215F695F}" dt="2017-12-05T18:19:09.011" v="493" actId="2696"/>
          <ac:cxnSpMkLst>
            <pc:docMk/>
            <pc:sldMk cId="3556834676" sldId="336"/>
            <ac:cxnSpMk id="37" creationId="{7CCCE395-923B-44E4-96B2-E1A71EC768A1}"/>
          </ac:cxnSpMkLst>
        </pc:cxnChg>
        <pc:cxnChg chg="add">
          <ac:chgData name="Andy Roberts" userId="b6430d21-8e5e-4d9c-81e9-e1ae515d6d74" providerId="ADAL" clId="{356C853E-D027-4183-864D-1C71215F695F}" dt="2017-12-05T18:19:54.159" v="505" actId="2696"/>
          <ac:cxnSpMkLst>
            <pc:docMk/>
            <pc:sldMk cId="3556834676" sldId="336"/>
            <ac:cxnSpMk id="162" creationId="{59E7353B-2BFD-4ACA-993D-36681A70C8CB}"/>
          </ac:cxnSpMkLst>
        </pc:cxnChg>
        <pc:cxnChg chg="add">
          <ac:chgData name="Andy Roberts" userId="b6430d21-8e5e-4d9c-81e9-e1ae515d6d74" providerId="ADAL" clId="{356C853E-D027-4183-864D-1C71215F695F}" dt="2017-12-05T18:19:54.159" v="505" actId="2696"/>
          <ac:cxnSpMkLst>
            <pc:docMk/>
            <pc:sldMk cId="3556834676" sldId="336"/>
            <ac:cxnSpMk id="163" creationId="{ADA7181C-7E3E-4135-8D5F-93CD7FC4D0AF}"/>
          </ac:cxnSpMkLst>
        </pc:cxnChg>
        <pc:cxnChg chg="add">
          <ac:chgData name="Andy Roberts" userId="b6430d21-8e5e-4d9c-81e9-e1ae515d6d74" providerId="ADAL" clId="{356C853E-D027-4183-864D-1C71215F695F}" dt="2017-12-05T18:19:54.159" v="505" actId="2696"/>
          <ac:cxnSpMkLst>
            <pc:docMk/>
            <pc:sldMk cId="3556834676" sldId="336"/>
            <ac:cxnSpMk id="164" creationId="{604EAE88-3AC4-42F3-BBCF-541755802FAD}"/>
          </ac:cxnSpMkLst>
        </pc:cxnChg>
        <pc:cxnChg chg="add">
          <ac:chgData name="Andy Roberts" userId="b6430d21-8e5e-4d9c-81e9-e1ae515d6d74" providerId="ADAL" clId="{356C853E-D027-4183-864D-1C71215F695F}" dt="2017-12-05T18:19:54.159" v="505" actId="2696"/>
          <ac:cxnSpMkLst>
            <pc:docMk/>
            <pc:sldMk cId="3556834676" sldId="336"/>
            <ac:cxnSpMk id="175" creationId="{EC1218B3-C9BD-4B42-BA0C-2722CE452440}"/>
          </ac:cxnSpMkLst>
        </pc:cxnChg>
        <pc:cxnChg chg="add">
          <ac:chgData name="Andy Roberts" userId="b6430d21-8e5e-4d9c-81e9-e1ae515d6d74" providerId="ADAL" clId="{356C853E-D027-4183-864D-1C71215F695F}" dt="2017-12-05T18:19:54.159" v="505" actId="2696"/>
          <ac:cxnSpMkLst>
            <pc:docMk/>
            <pc:sldMk cId="3556834676" sldId="336"/>
            <ac:cxnSpMk id="176" creationId="{DA3B24C9-3A7B-42CE-BF6C-1B5B984AB479}"/>
          </ac:cxnSpMkLst>
        </pc:cxnChg>
        <pc:cxnChg chg="add">
          <ac:chgData name="Andy Roberts" userId="b6430d21-8e5e-4d9c-81e9-e1ae515d6d74" providerId="ADAL" clId="{356C853E-D027-4183-864D-1C71215F695F}" dt="2017-12-05T18:19:54.159" v="505" actId="2696"/>
          <ac:cxnSpMkLst>
            <pc:docMk/>
            <pc:sldMk cId="3556834676" sldId="336"/>
            <ac:cxnSpMk id="177" creationId="{93914D4D-EA81-4314-9607-2C078066D98C}"/>
          </ac:cxnSpMkLst>
        </pc:cxnChg>
        <pc:cxnChg chg="add">
          <ac:chgData name="Andy Roberts" userId="b6430d21-8e5e-4d9c-81e9-e1ae515d6d74" providerId="ADAL" clId="{356C853E-D027-4183-864D-1C71215F695F}" dt="2017-12-05T18:19:54.159" v="505" actId="2696"/>
          <ac:cxnSpMkLst>
            <pc:docMk/>
            <pc:sldMk cId="3556834676" sldId="336"/>
            <ac:cxnSpMk id="178" creationId="{B5C380A3-611D-4153-BB67-FD817BFCC234}"/>
          </ac:cxnSpMkLst>
        </pc:cxnChg>
        <pc:cxnChg chg="add">
          <ac:chgData name="Andy Roberts" userId="b6430d21-8e5e-4d9c-81e9-e1ae515d6d74" providerId="ADAL" clId="{356C853E-D027-4183-864D-1C71215F695F}" dt="2017-12-05T18:19:54.159" v="505" actId="2696"/>
          <ac:cxnSpMkLst>
            <pc:docMk/>
            <pc:sldMk cId="3556834676" sldId="336"/>
            <ac:cxnSpMk id="179" creationId="{62F9FD83-3345-489B-8819-64878CA09D38}"/>
          </ac:cxnSpMkLst>
        </pc:cxnChg>
        <pc:cxnChg chg="add">
          <ac:chgData name="Andy Roberts" userId="b6430d21-8e5e-4d9c-81e9-e1ae515d6d74" providerId="ADAL" clId="{356C853E-D027-4183-864D-1C71215F695F}" dt="2017-12-05T18:19:54.159" v="505" actId="2696"/>
          <ac:cxnSpMkLst>
            <pc:docMk/>
            <pc:sldMk cId="3556834676" sldId="336"/>
            <ac:cxnSpMk id="182" creationId="{1CDC50E5-3E71-4B8E-8E3D-3B7A9ADD2977}"/>
          </ac:cxnSpMkLst>
        </pc:cxnChg>
        <pc:cxnChg chg="add del mod">
          <ac:chgData name="Andy Roberts" userId="b6430d21-8e5e-4d9c-81e9-e1ae515d6d74" providerId="ADAL" clId="{356C853E-D027-4183-864D-1C71215F695F}" dt="2017-12-05T18:20:05.617" v="511" actId="478"/>
          <ac:cxnSpMkLst>
            <pc:docMk/>
            <pc:sldMk cId="3556834676" sldId="336"/>
            <ac:cxnSpMk id="307" creationId="{207415CD-7565-472D-8CA5-5B6914E35013}"/>
          </ac:cxnSpMkLst>
        </pc:cxnChg>
        <pc:cxnChg chg="add del mod">
          <ac:chgData name="Andy Roberts" userId="b6430d21-8e5e-4d9c-81e9-e1ae515d6d74" providerId="ADAL" clId="{356C853E-D027-4183-864D-1C71215F695F}" dt="2017-12-05T18:20:05.617" v="511" actId="478"/>
          <ac:cxnSpMkLst>
            <pc:docMk/>
            <pc:sldMk cId="3556834676" sldId="336"/>
            <ac:cxnSpMk id="308" creationId="{8A6DEF2D-2AFF-4D72-927D-4F0CA355B71D}"/>
          </ac:cxnSpMkLst>
        </pc:cxnChg>
        <pc:cxnChg chg="add del">
          <ac:chgData name="Andy Roberts" userId="b6430d21-8e5e-4d9c-81e9-e1ae515d6d74" providerId="ADAL" clId="{356C853E-D027-4183-864D-1C71215F695F}" dt="2017-12-05T18:20:05.617" v="511" actId="478"/>
          <ac:cxnSpMkLst>
            <pc:docMk/>
            <pc:sldMk cId="3556834676" sldId="336"/>
            <ac:cxnSpMk id="309" creationId="{D962D284-F265-43F0-B021-FCE25E21B097}"/>
          </ac:cxnSpMkLst>
        </pc:cxnChg>
        <pc:cxnChg chg="add del mod">
          <ac:chgData name="Andy Roberts" userId="b6430d21-8e5e-4d9c-81e9-e1ae515d6d74" providerId="ADAL" clId="{356C853E-D027-4183-864D-1C71215F695F}" dt="2017-12-05T18:20:05.617" v="511" actId="478"/>
          <ac:cxnSpMkLst>
            <pc:docMk/>
            <pc:sldMk cId="3556834676" sldId="336"/>
            <ac:cxnSpMk id="320" creationId="{2BFB34D5-D9B6-429E-8FFE-BC2E1D7D5A16}"/>
          </ac:cxnSpMkLst>
        </pc:cxnChg>
        <pc:cxnChg chg="add del mod">
          <ac:chgData name="Andy Roberts" userId="b6430d21-8e5e-4d9c-81e9-e1ae515d6d74" providerId="ADAL" clId="{356C853E-D027-4183-864D-1C71215F695F}" dt="2017-12-05T18:20:05.617" v="511" actId="478"/>
          <ac:cxnSpMkLst>
            <pc:docMk/>
            <pc:sldMk cId="3556834676" sldId="336"/>
            <ac:cxnSpMk id="321" creationId="{7DAC29B2-E980-4B0D-9E3E-6D8D820C8DE0}"/>
          </ac:cxnSpMkLst>
        </pc:cxnChg>
        <pc:cxnChg chg="add del mod">
          <ac:chgData name="Andy Roberts" userId="b6430d21-8e5e-4d9c-81e9-e1ae515d6d74" providerId="ADAL" clId="{356C853E-D027-4183-864D-1C71215F695F}" dt="2017-12-05T18:20:05.617" v="511" actId="478"/>
          <ac:cxnSpMkLst>
            <pc:docMk/>
            <pc:sldMk cId="3556834676" sldId="336"/>
            <ac:cxnSpMk id="322" creationId="{1038B887-4B1E-4FFF-B815-45C25310DF00}"/>
          </ac:cxnSpMkLst>
        </pc:cxnChg>
        <pc:cxnChg chg="add del mod">
          <ac:chgData name="Andy Roberts" userId="b6430d21-8e5e-4d9c-81e9-e1ae515d6d74" providerId="ADAL" clId="{356C853E-D027-4183-864D-1C71215F695F}" dt="2017-12-05T18:20:05.617" v="511" actId="478"/>
          <ac:cxnSpMkLst>
            <pc:docMk/>
            <pc:sldMk cId="3556834676" sldId="336"/>
            <ac:cxnSpMk id="323" creationId="{F8B16B39-A765-4713-BBE7-F55CDA7C4246}"/>
          </ac:cxnSpMkLst>
        </pc:cxnChg>
        <pc:cxnChg chg="add del mod">
          <ac:chgData name="Andy Roberts" userId="b6430d21-8e5e-4d9c-81e9-e1ae515d6d74" providerId="ADAL" clId="{356C853E-D027-4183-864D-1C71215F695F}" dt="2017-12-05T18:20:05.617" v="511" actId="478"/>
          <ac:cxnSpMkLst>
            <pc:docMk/>
            <pc:sldMk cId="3556834676" sldId="336"/>
            <ac:cxnSpMk id="324" creationId="{5469FF22-2737-44F5-AB4F-B0F6D65487BE}"/>
          </ac:cxnSpMkLst>
        </pc:cxnChg>
        <pc:cxnChg chg="add del mod">
          <ac:chgData name="Andy Roberts" userId="b6430d21-8e5e-4d9c-81e9-e1ae515d6d74" providerId="ADAL" clId="{356C853E-D027-4183-864D-1C71215F695F}" dt="2017-12-05T18:20:05.617" v="511" actId="478"/>
          <ac:cxnSpMkLst>
            <pc:docMk/>
            <pc:sldMk cId="3556834676" sldId="336"/>
            <ac:cxnSpMk id="327" creationId="{808473BE-8557-432B-8308-97B9E05D1B4D}"/>
          </ac:cxnSpMkLst>
        </pc:cxnChg>
      </pc:sldChg>
      <pc:sldChg chg="addSp delSp modSp add ord modAnim">
        <pc:chgData name="Andy Roberts" userId="b6430d21-8e5e-4d9c-81e9-e1ae515d6d74" providerId="ADAL" clId="{356C853E-D027-4183-864D-1C71215F695F}" dt="2017-12-05T18:40:46.967" v="562" actId="404"/>
        <pc:sldMkLst>
          <pc:docMk/>
          <pc:sldMk cId="2653521965" sldId="337"/>
        </pc:sldMkLst>
        <pc:spChg chg="del">
          <ac:chgData name="Andy Roberts" userId="b6430d21-8e5e-4d9c-81e9-e1ae515d6d74" providerId="ADAL" clId="{356C853E-D027-4183-864D-1C71215F695F}" dt="2017-12-05T18:21:59.870" v="524" actId="478"/>
          <ac:spMkLst>
            <pc:docMk/>
            <pc:sldMk cId="2653521965" sldId="337"/>
            <ac:spMk id="2" creationId="{7761B5D0-BC8D-46BD-A56F-3D1681267973}"/>
          </ac:spMkLst>
        </pc:spChg>
        <pc:spChg chg="del">
          <ac:chgData name="Andy Roberts" userId="b6430d21-8e5e-4d9c-81e9-e1ae515d6d74" providerId="ADAL" clId="{356C853E-D027-4183-864D-1C71215F695F}" dt="2017-12-05T18:22:01.405" v="525" actId="478"/>
          <ac:spMkLst>
            <pc:docMk/>
            <pc:sldMk cId="2653521965" sldId="337"/>
            <ac:spMk id="3" creationId="{FE591FCD-7557-42B5-B23B-B4AC98F37208}"/>
          </ac:spMkLst>
        </pc:spChg>
        <pc:spChg chg="add del">
          <ac:chgData name="Andy Roberts" userId="b6430d21-8e5e-4d9c-81e9-e1ae515d6d74" providerId="ADAL" clId="{356C853E-D027-4183-864D-1C71215F695F}" dt="2017-12-05T18:21:56.096" v="523" actId="404"/>
          <ac:spMkLst>
            <pc:docMk/>
            <pc:sldMk cId="2653521965" sldId="337"/>
            <ac:spMk id="4" creationId="{1B2DAD21-C796-437E-8A64-C8471D891BBA}"/>
          </ac:spMkLst>
        </pc:spChg>
        <pc:spChg chg="add del">
          <ac:chgData name="Andy Roberts" userId="b6430d21-8e5e-4d9c-81e9-e1ae515d6d74" providerId="ADAL" clId="{356C853E-D027-4183-864D-1C71215F695F}" dt="2017-12-05T18:21:56.096" v="523" actId="404"/>
          <ac:spMkLst>
            <pc:docMk/>
            <pc:sldMk cId="2653521965" sldId="337"/>
            <ac:spMk id="5" creationId="{24D9A621-EE2A-41A7-B291-918ACB8DE7D1}"/>
          </ac:spMkLst>
        </pc:spChg>
        <pc:spChg chg="add del">
          <ac:chgData name="Andy Roberts" userId="b6430d21-8e5e-4d9c-81e9-e1ae515d6d74" providerId="ADAL" clId="{356C853E-D027-4183-864D-1C71215F695F}" dt="2017-12-05T18:22:05.965" v="529" actId="404"/>
          <ac:spMkLst>
            <pc:docMk/>
            <pc:sldMk cId="2653521965" sldId="337"/>
            <ac:spMk id="7" creationId="{49E31699-7929-4B57-9E63-AACBE4B89E1D}"/>
          </ac:spMkLst>
        </pc:spChg>
        <pc:spChg chg="add del">
          <ac:chgData name="Andy Roberts" userId="b6430d21-8e5e-4d9c-81e9-e1ae515d6d74" providerId="ADAL" clId="{356C853E-D027-4183-864D-1C71215F695F}" dt="2017-12-05T18:22:05.965" v="529" actId="404"/>
          <ac:spMkLst>
            <pc:docMk/>
            <pc:sldMk cId="2653521965" sldId="337"/>
            <ac:spMk id="8" creationId="{7F1C53BF-E4CD-450A-BEF6-48458E049F33}"/>
          </ac:spMkLst>
        </pc:spChg>
        <pc:spChg chg="add">
          <ac:chgData name="Andy Roberts" userId="b6430d21-8e5e-4d9c-81e9-e1ae515d6d74" providerId="ADAL" clId="{356C853E-D027-4183-864D-1C71215F695F}" dt="2017-12-05T18:22:05.986" v="530" actId="404"/>
          <ac:spMkLst>
            <pc:docMk/>
            <pc:sldMk cId="2653521965" sldId="337"/>
            <ac:spMk id="10" creationId="{077C05AD-7848-4527-ACC0-137716851B85}"/>
          </ac:spMkLst>
        </pc:spChg>
        <pc:spChg chg="add mod">
          <ac:chgData name="Andy Roberts" userId="b6430d21-8e5e-4d9c-81e9-e1ae515d6d74" providerId="ADAL" clId="{356C853E-D027-4183-864D-1C71215F695F}" dt="2017-12-05T18:40:46.967" v="562" actId="404"/>
          <ac:spMkLst>
            <pc:docMk/>
            <pc:sldMk cId="2653521965" sldId="337"/>
            <ac:spMk id="11" creationId="{FD1D4B2B-E8C5-425E-95C9-F9AA624490F0}"/>
          </ac:spMkLst>
        </pc:spChg>
        <pc:picChg chg="add del">
          <ac:chgData name="Andy Roberts" userId="b6430d21-8e5e-4d9c-81e9-e1ae515d6d74" providerId="ADAL" clId="{356C853E-D027-4183-864D-1C71215F695F}" dt="2017-12-05T18:21:56.096" v="523" actId="404"/>
          <ac:picMkLst>
            <pc:docMk/>
            <pc:sldMk cId="2653521965" sldId="337"/>
            <ac:picMk id="6" creationId="{56F59B68-02E5-4F34-8223-827EA948F0CC}"/>
          </ac:picMkLst>
        </pc:picChg>
        <pc:picChg chg="add del">
          <ac:chgData name="Andy Roberts" userId="b6430d21-8e5e-4d9c-81e9-e1ae515d6d74" providerId="ADAL" clId="{356C853E-D027-4183-864D-1C71215F695F}" dt="2017-12-05T18:22:05.965" v="529" actId="404"/>
          <ac:picMkLst>
            <pc:docMk/>
            <pc:sldMk cId="2653521965" sldId="337"/>
            <ac:picMk id="9" creationId="{4D63E200-9DA7-4B38-BADA-05A9A9F6E180}"/>
          </ac:picMkLst>
        </pc:picChg>
        <pc:picChg chg="add">
          <ac:chgData name="Andy Roberts" userId="b6430d21-8e5e-4d9c-81e9-e1ae515d6d74" providerId="ADAL" clId="{356C853E-D027-4183-864D-1C71215F695F}" dt="2017-12-05T18:22:05.986" v="530" actId="404"/>
          <ac:picMkLst>
            <pc:docMk/>
            <pc:sldMk cId="2653521965" sldId="337"/>
            <ac:picMk id="12" creationId="{B588F22A-A59A-4D5F-B7D5-3A44A89EC385}"/>
          </ac:picMkLst>
        </pc:picChg>
      </pc:sldChg>
      <pc:sldChg chg="addSp delSp add del modAnim">
        <pc:chgData name="Andy Roberts" userId="b6430d21-8e5e-4d9c-81e9-e1ae515d6d74" providerId="ADAL" clId="{356C853E-D027-4183-864D-1C71215F695F}" dt="2017-12-05T18:31:25.081" v="543" actId="2696"/>
        <pc:sldMkLst>
          <pc:docMk/>
          <pc:sldMk cId="314485288" sldId="338"/>
        </pc:sldMkLst>
        <pc:spChg chg="del">
          <ac:chgData name="Andy Roberts" userId="b6430d21-8e5e-4d9c-81e9-e1ae515d6d74" providerId="ADAL" clId="{356C853E-D027-4183-864D-1C71215F695F}" dt="2017-12-05T18:22:27.100" v="535" actId="478"/>
          <ac:spMkLst>
            <pc:docMk/>
            <pc:sldMk cId="314485288" sldId="338"/>
            <ac:spMk id="2" creationId="{B3F16848-569C-4646-9E41-73A90F83ABFD}"/>
          </ac:spMkLst>
        </pc:spChg>
        <pc:spChg chg="del">
          <ac:chgData name="Andy Roberts" userId="b6430d21-8e5e-4d9c-81e9-e1ae515d6d74" providerId="ADAL" clId="{356C853E-D027-4183-864D-1C71215F695F}" dt="2017-12-05T18:22:24.887" v="534" actId="478"/>
          <ac:spMkLst>
            <pc:docMk/>
            <pc:sldMk cId="314485288" sldId="338"/>
            <ac:spMk id="3" creationId="{26A356DA-4CFE-4CD9-B82F-7BDE7EFD6F4C}"/>
          </ac:spMkLst>
        </pc:spChg>
        <pc:spChg chg="add del">
          <ac:chgData name="Andy Roberts" userId="b6430d21-8e5e-4d9c-81e9-e1ae515d6d74" providerId="ADAL" clId="{356C853E-D027-4183-864D-1C71215F695F}" dt="2017-12-05T18:22:22.478" v="533" actId="2696"/>
          <ac:spMkLst>
            <pc:docMk/>
            <pc:sldMk cId="314485288" sldId="338"/>
            <ac:spMk id="4" creationId="{D8426245-2B46-49B6-8D76-E8A839CDBC5A}"/>
          </ac:spMkLst>
        </pc:spChg>
        <pc:spChg chg="add del">
          <ac:chgData name="Andy Roberts" userId="b6430d21-8e5e-4d9c-81e9-e1ae515d6d74" providerId="ADAL" clId="{356C853E-D027-4183-864D-1C71215F695F}" dt="2017-12-05T18:22:22.478" v="533" actId="2696"/>
          <ac:spMkLst>
            <pc:docMk/>
            <pc:sldMk cId="314485288" sldId="338"/>
            <ac:spMk id="5" creationId="{61FD4146-7795-4912-9DFC-32EB15D782C0}"/>
          </ac:spMkLst>
        </pc:spChg>
        <pc:spChg chg="add del">
          <ac:chgData name="Andy Roberts" userId="b6430d21-8e5e-4d9c-81e9-e1ae515d6d74" providerId="ADAL" clId="{356C853E-D027-4183-864D-1C71215F695F}" dt="2017-12-05T18:22:33.568" v="539" actId="2696"/>
          <ac:spMkLst>
            <pc:docMk/>
            <pc:sldMk cId="314485288" sldId="338"/>
            <ac:spMk id="7" creationId="{85953EE8-4C39-47F7-9E85-83D06A424459}"/>
          </ac:spMkLst>
        </pc:spChg>
        <pc:spChg chg="add del">
          <ac:chgData name="Andy Roberts" userId="b6430d21-8e5e-4d9c-81e9-e1ae515d6d74" providerId="ADAL" clId="{356C853E-D027-4183-864D-1C71215F695F}" dt="2017-12-05T18:22:33.568" v="539" actId="2696"/>
          <ac:spMkLst>
            <pc:docMk/>
            <pc:sldMk cId="314485288" sldId="338"/>
            <ac:spMk id="8" creationId="{23918458-8908-4E0A-9692-2176CB4E3F94}"/>
          </ac:spMkLst>
        </pc:spChg>
        <pc:spChg chg="add">
          <ac:chgData name="Andy Roberts" userId="b6430d21-8e5e-4d9c-81e9-e1ae515d6d74" providerId="ADAL" clId="{356C853E-D027-4183-864D-1C71215F695F}" dt="2017-12-05T18:22:33.588" v="540" actId="2696"/>
          <ac:spMkLst>
            <pc:docMk/>
            <pc:sldMk cId="314485288" sldId="338"/>
            <ac:spMk id="10" creationId="{A878CA7F-BBFE-4457-9FEC-770C14F1C183}"/>
          </ac:spMkLst>
        </pc:spChg>
        <pc:spChg chg="add">
          <ac:chgData name="Andy Roberts" userId="b6430d21-8e5e-4d9c-81e9-e1ae515d6d74" providerId="ADAL" clId="{356C853E-D027-4183-864D-1C71215F695F}" dt="2017-12-05T18:22:33.588" v="540" actId="2696"/>
          <ac:spMkLst>
            <pc:docMk/>
            <pc:sldMk cId="314485288" sldId="338"/>
            <ac:spMk id="11" creationId="{1BD21887-FB1B-4F6D-9C5C-E35D2399BB26}"/>
          </ac:spMkLst>
        </pc:spChg>
        <pc:picChg chg="add del">
          <ac:chgData name="Andy Roberts" userId="b6430d21-8e5e-4d9c-81e9-e1ae515d6d74" providerId="ADAL" clId="{356C853E-D027-4183-864D-1C71215F695F}" dt="2017-12-05T18:22:22.478" v="533" actId="2696"/>
          <ac:picMkLst>
            <pc:docMk/>
            <pc:sldMk cId="314485288" sldId="338"/>
            <ac:picMk id="6" creationId="{EF7FC040-B7BC-4B57-9639-0355BF91D110}"/>
          </ac:picMkLst>
        </pc:picChg>
        <pc:picChg chg="add del">
          <ac:chgData name="Andy Roberts" userId="b6430d21-8e5e-4d9c-81e9-e1ae515d6d74" providerId="ADAL" clId="{356C853E-D027-4183-864D-1C71215F695F}" dt="2017-12-05T18:22:33.568" v="539" actId="2696"/>
          <ac:picMkLst>
            <pc:docMk/>
            <pc:sldMk cId="314485288" sldId="338"/>
            <ac:picMk id="9" creationId="{E0BD2470-DA16-435B-809D-3FB8973776E9}"/>
          </ac:picMkLst>
        </pc:picChg>
        <pc:picChg chg="add">
          <ac:chgData name="Andy Roberts" userId="b6430d21-8e5e-4d9c-81e9-e1ae515d6d74" providerId="ADAL" clId="{356C853E-D027-4183-864D-1C71215F695F}" dt="2017-12-05T18:22:33.588" v="540" actId="2696"/>
          <ac:picMkLst>
            <pc:docMk/>
            <pc:sldMk cId="314485288" sldId="338"/>
            <ac:picMk id="12" creationId="{BAD40BC1-DA6A-4D6F-81D8-C791B77D0EA9}"/>
          </ac:picMkLst>
        </pc:picChg>
      </pc:sldChg>
      <pc:sldChg chg="add setBg">
        <pc:chgData name="Andy Roberts" userId="b6430d21-8e5e-4d9c-81e9-e1ae515d6d74" providerId="ADAL" clId="{356C853E-D027-4183-864D-1C71215F695F}" dt="2017-12-05T18:57:43.080" v="667" actId="2696"/>
        <pc:sldMkLst>
          <pc:docMk/>
          <pc:sldMk cId="4019357465" sldId="338"/>
        </pc:sldMkLst>
      </pc:sldChg>
      <pc:sldChg chg="add setBg">
        <pc:chgData name="Andy Roberts" userId="b6430d21-8e5e-4d9c-81e9-e1ae515d6d74" providerId="ADAL" clId="{356C853E-D027-4183-864D-1C71215F695F}" dt="2017-12-05T18:57:43.080" v="667" actId="2696"/>
        <pc:sldMkLst>
          <pc:docMk/>
          <pc:sldMk cId="387612803" sldId="339"/>
        </pc:sldMkLst>
      </pc:sldChg>
      <pc:sldMasterChg chg="modSldLayout">
        <pc:chgData name="Andy Roberts" userId="b6430d21-8e5e-4d9c-81e9-e1ae515d6d74" providerId="ADAL" clId="{356C853E-D027-4183-864D-1C71215F695F}" dt="2017-12-05T17:48:57.836" v="52" actId="478"/>
        <pc:sldMasterMkLst>
          <pc:docMk/>
          <pc:sldMasterMk cId="3118783959" sldId="2147483660"/>
        </pc:sldMasterMkLst>
        <pc:sldLayoutChg chg="delSp">
          <pc:chgData name="Andy Roberts" userId="b6430d21-8e5e-4d9c-81e9-e1ae515d6d74" providerId="ADAL" clId="{356C853E-D027-4183-864D-1C71215F695F}" dt="2017-12-05T17:48:57.836" v="52" actId="478"/>
          <pc:sldLayoutMkLst>
            <pc:docMk/>
            <pc:sldMasterMk cId="3118783959" sldId="2147483660"/>
            <pc:sldLayoutMk cId="942519667" sldId="2147483661"/>
          </pc:sldLayoutMkLst>
          <pc:spChg chg="del">
            <ac:chgData name="Andy Roberts" userId="b6430d21-8e5e-4d9c-81e9-e1ae515d6d74" providerId="ADAL" clId="{356C853E-D027-4183-864D-1C71215F695F}" dt="2017-12-05T17:48:57.836" v="52" actId="478"/>
            <ac:spMkLst>
              <pc:docMk/>
              <pc:sldMasterMk cId="3118783959" sldId="2147483660"/>
              <pc:sldLayoutMk cId="942519667" sldId="2147483661"/>
              <ac:spMk id="7" creationId="{00000000-0000-0000-0000-000000000000}"/>
            </ac:spMkLst>
          </pc:spChg>
        </pc:sldLayoutChg>
        <pc:sldLayoutChg chg="delSp">
          <pc:chgData name="Andy Roberts" userId="b6430d21-8e5e-4d9c-81e9-e1ae515d6d74" providerId="ADAL" clId="{356C853E-D027-4183-864D-1C71215F695F}" dt="2017-12-05T17:48:51.450" v="51" actId="478"/>
          <pc:sldLayoutMkLst>
            <pc:docMk/>
            <pc:sldMasterMk cId="3118783959" sldId="2147483660"/>
            <pc:sldLayoutMk cId="3823260024" sldId="2147483667"/>
          </pc:sldLayoutMkLst>
          <pc:spChg chg="del">
            <ac:chgData name="Andy Roberts" userId="b6430d21-8e5e-4d9c-81e9-e1ae515d6d74" providerId="ADAL" clId="{356C853E-D027-4183-864D-1C71215F695F}" dt="2017-12-05T17:48:51.450" v="51" actId="478"/>
            <ac:spMkLst>
              <pc:docMk/>
              <pc:sldMasterMk cId="3118783959" sldId="2147483660"/>
              <pc:sldLayoutMk cId="3823260024" sldId="2147483667"/>
              <ac:spMk id="7" creationId="{00000000-0000-0000-0000-000000000000}"/>
            </ac:spMkLst>
          </pc:spChg>
        </pc:sldLayoutChg>
        <pc:sldLayoutChg chg="delSp">
          <pc:chgData name="Andy Roberts" userId="b6430d21-8e5e-4d9c-81e9-e1ae515d6d74" providerId="ADAL" clId="{356C853E-D027-4183-864D-1C71215F695F}" dt="2017-12-05T17:47:44.148" v="35" actId="478"/>
          <pc:sldLayoutMkLst>
            <pc:docMk/>
            <pc:sldMasterMk cId="3118783959" sldId="2147483660"/>
            <pc:sldLayoutMk cId="2679350113" sldId="2147483670"/>
          </pc:sldLayoutMkLst>
          <pc:spChg chg="del">
            <ac:chgData name="Andy Roberts" userId="b6430d21-8e5e-4d9c-81e9-e1ae515d6d74" providerId="ADAL" clId="{356C853E-D027-4183-864D-1C71215F695F}" dt="2017-12-05T17:47:44.148" v="35" actId="478"/>
            <ac:spMkLst>
              <pc:docMk/>
              <pc:sldMasterMk cId="3118783959" sldId="2147483660"/>
              <pc:sldLayoutMk cId="2679350113" sldId="2147483670"/>
              <ac:spMk id="10" creationId="{00000000-0000-0000-0000-000000000000}"/>
            </ac:spMkLst>
          </pc:spChg>
        </pc:sldLayoutChg>
      </pc:sldMasterChg>
      <pc:sldMasterChg chg="delSldLayout modSldLayout">
        <pc:chgData name="Andy Roberts" userId="b6430d21-8e5e-4d9c-81e9-e1ae515d6d74" providerId="ADAL" clId="{356C853E-D027-4183-864D-1C71215F695F}" dt="2017-12-05T17:48:19.723" v="50" actId="6549"/>
        <pc:sldMasterMkLst>
          <pc:docMk/>
          <pc:sldMasterMk cId="3347020992" sldId="2147483677"/>
        </pc:sldMasterMkLst>
        <pc:sldLayoutChg chg="del">
          <pc:chgData name="Andy Roberts" userId="b6430d21-8e5e-4d9c-81e9-e1ae515d6d74" providerId="ADAL" clId="{356C853E-D027-4183-864D-1C71215F695F}" dt="2017-12-05T17:47:56.593" v="36" actId="2696"/>
          <pc:sldLayoutMkLst>
            <pc:docMk/>
            <pc:sldMasterMk cId="3347020992" sldId="2147483677"/>
            <pc:sldLayoutMk cId="4207384384" sldId="2147483678"/>
          </pc:sldLayoutMkLst>
        </pc:sldLayoutChg>
        <pc:sldLayoutChg chg="del">
          <pc:chgData name="Andy Roberts" userId="b6430d21-8e5e-4d9c-81e9-e1ae515d6d74" providerId="ADAL" clId="{356C853E-D027-4183-864D-1C71215F695F}" dt="2017-12-05T17:47:58.249" v="37" actId="2696"/>
          <pc:sldLayoutMkLst>
            <pc:docMk/>
            <pc:sldMasterMk cId="3347020992" sldId="2147483677"/>
            <pc:sldLayoutMk cId="3509419922" sldId="2147483679"/>
          </pc:sldLayoutMkLst>
        </pc:sldLayoutChg>
        <pc:sldLayoutChg chg="modSp">
          <pc:chgData name="Andy Roberts" userId="b6430d21-8e5e-4d9c-81e9-e1ae515d6d74" providerId="ADAL" clId="{356C853E-D027-4183-864D-1C71215F695F}" dt="2017-12-05T17:48:19.723" v="50" actId="6549"/>
          <pc:sldLayoutMkLst>
            <pc:docMk/>
            <pc:sldMasterMk cId="3347020992" sldId="2147483677"/>
            <pc:sldLayoutMk cId="798358461" sldId="2147483702"/>
          </pc:sldLayoutMkLst>
          <pc:spChg chg="mod">
            <ac:chgData name="Andy Roberts" userId="b6430d21-8e5e-4d9c-81e9-e1ae515d6d74" providerId="ADAL" clId="{356C853E-D027-4183-864D-1C71215F695F}" dt="2017-12-05T17:48:19.723" v="50" actId="6549"/>
            <ac:spMkLst>
              <pc:docMk/>
              <pc:sldMasterMk cId="3347020992" sldId="2147483677"/>
              <pc:sldLayoutMk cId="798358461" sldId="2147483702"/>
              <ac:spMk id="4" creationId="{00000000-0000-0000-0000-000000000000}"/>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12/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1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kafka.apache.org/documentation.html#intro_distribu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kafka.apache.org/documentation.html#intro_consumers" TargetMode="External"/><Relationship Id="rId4" Type="http://schemas.openxmlformats.org/officeDocument/2006/relationships/hyperlink" Target="http://kafka.apache.org/documentation.html#intro_producer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qlug.be/files/sqlug/bd/MicrosoftBigDataSQLUG.pdf"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www.larsgeorge.com/2010/01/hbase-architecture-101-write-ahead-log.html"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a:p>
        </p:txBody>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60207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9703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ximum of 12 per Service</a:t>
            </a:r>
            <a:r>
              <a:rPr lang="en-US" baseline="0"/>
              <a:t> Bus namespace</a:t>
            </a:r>
            <a:endParaRPr lang="en-US"/>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72851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160812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using</a:t>
            </a:r>
            <a:r>
              <a:rPr lang="en-US" baseline="0" dirty="0"/>
              <a:t> the SDK, with VS.</a:t>
            </a:r>
          </a:p>
          <a:p>
            <a:endParaRPr lang="en-US" dirty="0"/>
          </a:p>
          <a:p>
            <a:r>
              <a:rPr lang="en-US" dirty="0"/>
              <a:t>This method continuously sends events to your Event Hub with a 200-ms delay.</a:t>
            </a:r>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38216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951976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000" dirty="0"/>
              <a:t>A topic is a category or feed name to which messages are published. For each topic, the Kafka cluster maintains a partitioned log that looks like this</a:t>
            </a:r>
            <a:r>
              <a:rPr lang="en-US" sz="4000" baseline="0" dirty="0"/>
              <a:t> diagram</a:t>
            </a:r>
          </a:p>
          <a:p>
            <a:endParaRPr lang="en-US" sz="4000" baseline="0" dirty="0"/>
          </a:p>
          <a:p>
            <a:r>
              <a:rPr lang="en-US" sz="4000" dirty="0"/>
              <a:t>Each partition is an ordered, immutable sequence of messages that is continually appended to—a commit log. </a:t>
            </a:r>
          </a:p>
          <a:p>
            <a:endParaRPr lang="en-US" sz="4000" dirty="0"/>
          </a:p>
          <a:p>
            <a:r>
              <a:rPr lang="en-US" sz="4000" dirty="0"/>
              <a:t>The offset is controlled by the consumer: normally a consumer will advance its offset linearly as it reads messages, but in fact the position is controlled by the consumer and it can consume messages in any order it likes. For example a consumer can reset to an older offset to reprocess. </a:t>
            </a:r>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2599470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linkClick r:id="rId3"/>
              </a:rPr>
              <a:t>Distribution</a:t>
            </a:r>
            <a:endParaRPr lang="en-US" b="1" dirty="0"/>
          </a:p>
          <a:p>
            <a:r>
              <a:rPr lang="en-US" dirty="0"/>
              <a:t>The partitions of the log are distributed over the servers in the Kafka cluster with each server handling data and requests for a share of the partitions. Each partition is replicated across a configurable number of servers for fault tolerance. Each partition has one server which acts as the "leader" and zero or more servers which act as "followers". The leader handles all read and write requests for the partition while the followers passively replicate the leader. If the leader fails, one of the followers will automatically become the new leader. Each server acts as a leader for some of its partitions and a follower for others so load is well balanced within the cluster. </a:t>
            </a:r>
          </a:p>
          <a:p>
            <a:endParaRPr lang="en-US" dirty="0"/>
          </a:p>
          <a:p>
            <a:r>
              <a:rPr lang="en-US" b="1" dirty="0">
                <a:hlinkClick r:id="rId4"/>
              </a:rPr>
              <a:t>Producers</a:t>
            </a:r>
            <a:endParaRPr lang="en-US" b="1" dirty="0"/>
          </a:p>
          <a:p>
            <a:r>
              <a:rPr lang="en-US" dirty="0"/>
              <a:t>Producers publish data to the topics of their choice. The producer is responsible for choosing which message to assign to which partition within the topic. This can be done in a round-robin fashion simply to balance load or it can be done according to some semantic partition function (say based on some key in the message).</a:t>
            </a:r>
          </a:p>
          <a:p>
            <a:endParaRPr lang="en-US" dirty="0"/>
          </a:p>
          <a:p>
            <a:r>
              <a:rPr lang="en-US" b="1" dirty="0">
                <a:hlinkClick r:id="rId5"/>
              </a:rPr>
              <a:t>Consumers</a:t>
            </a:r>
            <a:endParaRPr lang="en-US" b="1" dirty="0"/>
          </a:p>
          <a:p>
            <a:r>
              <a:rPr lang="en-US" dirty="0"/>
              <a:t>Consumers label themselves with a consumer group name, and each message published to a topic is delivered to one consumer instance within each subscribing consumer group. Consumer instances can be in separate processes or on separate machines. </a:t>
            </a:r>
          </a:p>
          <a:p>
            <a:r>
              <a:rPr lang="en-US" dirty="0"/>
              <a:t>If all the consumer instances have the same consumer group, then this works just like a traditional queue balancing load over the consumers. </a:t>
            </a:r>
          </a:p>
          <a:p>
            <a:r>
              <a:rPr lang="en-US" dirty="0"/>
              <a:t>If all the consumer instances have different consumer groups, then this works like publish-subscribe and all messages are broadcast to all consumers. </a:t>
            </a:r>
          </a:p>
          <a:p>
            <a:r>
              <a:rPr lang="en-US" dirty="0"/>
              <a:t>More commonly, however, we have found that topics have a small number of consumer groups, one for each "logical subscriber". Each group is composed of many consumer instances for scalability and fault tolerance. This is nothing more than publish-subscribe semantics where the subscriber is a cluster of consumers instead of a single process. </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32410646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est way to look</a:t>
            </a:r>
            <a:r>
              <a:rPr lang="en-US" baseline="0" dirty="0"/>
              <a:t> at this is through an analogy to push notifications to your mobile devices.</a:t>
            </a:r>
          </a:p>
          <a:p>
            <a:r>
              <a:rPr lang="en-US" baseline="0" dirty="0"/>
              <a:t>An applications needs to tell you something, but you have it installed on many devices. If you check the notification on one, you don’t want to read it over and over again on each of your other devices.</a:t>
            </a:r>
          </a:p>
          <a:p>
            <a:r>
              <a:rPr lang="en-US" baseline="0" dirty="0"/>
              <a:t>Queues delete the messages after they’ve been read once, and has protocols in place to make sure that the message isn’t deleted prematurely, to avoid data loss.</a:t>
            </a:r>
          </a:p>
          <a:p>
            <a:endParaRPr lang="en-US" baseline="0" dirty="0"/>
          </a:p>
          <a:p>
            <a:r>
              <a:rPr lang="en-US" sz="1200" kern="1200" dirty="0">
                <a:solidFill>
                  <a:schemeClr val="tx1"/>
                </a:solidFill>
                <a:effectLst/>
                <a:latin typeface="+mn-lt"/>
                <a:ea typeface="+mn-ea"/>
                <a:cs typeface="+mn-cs"/>
              </a:rPr>
              <a:t>Components of a Storm cluster</a:t>
            </a:r>
          </a:p>
          <a:p>
            <a:r>
              <a:rPr lang="en-US" sz="1200" kern="1200" dirty="0">
                <a:solidFill>
                  <a:schemeClr val="tx1"/>
                </a:solidFill>
                <a:effectLst/>
                <a:latin typeface="+mn-lt"/>
                <a:ea typeface="+mn-ea"/>
                <a:cs typeface="+mn-cs"/>
              </a:rPr>
              <a:t>A Storm cluster is superficially similar to a Hadoop cluster. Whereas on Hadoop you run "MapReduce jobs", on Storm you run "topologies". "Jobs" and "topologies" themselves are very different -- one key difference is that a MapReduce job eventually finishes, whereas a topology processes messages forever (or until you kill i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re are two kinds of nodes on a Storm cluster: the master node and the worker nodes. The master node runs a daemon called "Nimbus" that is similar to Hadoop's "</a:t>
            </a:r>
            <a:r>
              <a:rPr lang="en-US" sz="1200" kern="1200" dirty="0" err="1">
                <a:solidFill>
                  <a:schemeClr val="tx1"/>
                </a:solidFill>
                <a:effectLst/>
                <a:latin typeface="+mn-lt"/>
                <a:ea typeface="+mn-ea"/>
                <a:cs typeface="+mn-cs"/>
              </a:rPr>
              <a:t>JobTracker</a:t>
            </a:r>
            <a:r>
              <a:rPr lang="en-US" sz="1200" kern="1200" dirty="0">
                <a:solidFill>
                  <a:schemeClr val="tx1"/>
                </a:solidFill>
                <a:effectLst/>
                <a:latin typeface="+mn-lt"/>
                <a:ea typeface="+mn-ea"/>
                <a:cs typeface="+mn-cs"/>
              </a:rPr>
              <a:t>". Nimbus is responsible for distributing code around the cluster, assigning tasks to machines, and monitoring for failur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Each worker node runs a daemon called the "Supervisor". The supervisor listens for work assigned to its machine and starts and stops worker processes as necessary based on what Nimbus has assigned to it. Each worker process executes a subset of a topology; a running topology consists of many worker processes spread across many machin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torm cluster</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ll coordination between Nimbus and the Supervisors is done through a Zookeeper cluster. Additionally, the Nimbus daemon and Supervisor daemons are fail-fast and stateless; all state is kept in Zookeeper or on local disk. This means you can kill -9 Nimbus or the Supervisors and they'll start back up like nothing happened. This design leads to Storm clusters being incredibly stabl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opologies</a:t>
            </a:r>
          </a:p>
          <a:p>
            <a:r>
              <a:rPr lang="en-US" sz="1200" kern="1200" dirty="0">
                <a:solidFill>
                  <a:schemeClr val="tx1"/>
                </a:solidFill>
                <a:effectLst/>
                <a:latin typeface="+mn-lt"/>
                <a:ea typeface="+mn-ea"/>
                <a:cs typeface="+mn-cs"/>
              </a:rPr>
              <a:t>To do </a:t>
            </a:r>
            <a:r>
              <a:rPr lang="en-US" sz="1200" kern="1200" dirty="0" err="1">
                <a:solidFill>
                  <a:schemeClr val="tx1"/>
                </a:solidFill>
                <a:effectLst/>
                <a:latin typeface="+mn-lt"/>
                <a:ea typeface="+mn-ea"/>
                <a:cs typeface="+mn-cs"/>
              </a:rPr>
              <a:t>realtime</a:t>
            </a:r>
            <a:r>
              <a:rPr lang="en-US" sz="1200" kern="1200" dirty="0">
                <a:solidFill>
                  <a:schemeClr val="tx1"/>
                </a:solidFill>
                <a:effectLst/>
                <a:latin typeface="+mn-lt"/>
                <a:ea typeface="+mn-ea"/>
                <a:cs typeface="+mn-cs"/>
              </a:rPr>
              <a:t> computation on Storm, you create what are called "topologies". A topology is a graph of computation. Each node in a topology contains processing logic, and links between nodes indicate how data should be passed around between nod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Running a topology is straightforward. First, you package all your code and dependencies into a single jar. Then, you run a command like the following:</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torm jar all-my-code.jar </a:t>
            </a:r>
            <a:r>
              <a:rPr lang="en-US" sz="1200" kern="1200" dirty="0" err="1">
                <a:solidFill>
                  <a:schemeClr val="tx1"/>
                </a:solidFill>
                <a:effectLst/>
                <a:latin typeface="+mn-lt"/>
                <a:ea typeface="+mn-ea"/>
                <a:cs typeface="+mn-cs"/>
              </a:rPr>
              <a:t>org.apache.storm.MyTopology</a:t>
            </a:r>
            <a:r>
              <a:rPr lang="en-US" sz="1200" kern="1200" dirty="0">
                <a:solidFill>
                  <a:schemeClr val="tx1"/>
                </a:solidFill>
                <a:effectLst/>
                <a:latin typeface="+mn-lt"/>
                <a:ea typeface="+mn-ea"/>
                <a:cs typeface="+mn-cs"/>
              </a:rPr>
              <a:t> arg1 arg2</a:t>
            </a:r>
          </a:p>
          <a:p>
            <a:r>
              <a:rPr lang="en-US" sz="1200" kern="1200" dirty="0">
                <a:solidFill>
                  <a:schemeClr val="tx1"/>
                </a:solidFill>
                <a:effectLst/>
                <a:latin typeface="+mn-lt"/>
                <a:ea typeface="+mn-ea"/>
                <a:cs typeface="+mn-cs"/>
              </a:rPr>
              <a:t>This runs the class </a:t>
            </a:r>
            <a:r>
              <a:rPr lang="en-US" sz="1200" kern="1200" dirty="0" err="1">
                <a:solidFill>
                  <a:schemeClr val="tx1"/>
                </a:solidFill>
                <a:effectLst/>
                <a:latin typeface="+mn-lt"/>
                <a:ea typeface="+mn-ea"/>
                <a:cs typeface="+mn-cs"/>
              </a:rPr>
              <a:t>org.apache.storm.MyTopology</a:t>
            </a:r>
            <a:r>
              <a:rPr lang="en-US" sz="1200" kern="1200" dirty="0">
                <a:solidFill>
                  <a:schemeClr val="tx1"/>
                </a:solidFill>
                <a:effectLst/>
                <a:latin typeface="+mn-lt"/>
                <a:ea typeface="+mn-ea"/>
                <a:cs typeface="+mn-cs"/>
              </a:rPr>
              <a:t> with the arguments arg1 and arg2. The main function of the class defines the topology and submits it to Nimbus. The storm jar part takes care of connecting to Nimbus and uploading the jar.</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topology definitions are just Thrift structs, and Nimbus is a Thrift service, you can create and submit topologies using any programming language. The above example is the easiest way to do it from a JVM-based language. See Running topologies on a production cluster] for more information on starting and stopping topologi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treams</a:t>
            </a:r>
          </a:p>
          <a:p>
            <a:r>
              <a:rPr lang="en-US" sz="1200" kern="1200" dirty="0">
                <a:solidFill>
                  <a:schemeClr val="tx1"/>
                </a:solidFill>
                <a:effectLst/>
                <a:latin typeface="+mn-lt"/>
                <a:ea typeface="+mn-ea"/>
                <a:cs typeface="+mn-cs"/>
              </a:rPr>
              <a:t>The core abstraction in Storm is the "stream". A stream is an unbounded sequence of tuples. Storm provides the primitives for transforming a stream into a new stream in a distributed and reliable way. For example, you may transform a stream of tweets into a stream of trending topic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basic primitives Storm provides for doing stream transformations are "spouts" and "bolts". Spouts and bolts have interfaces that you implement to run your application-specific logic.</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 spout is a source of streams. For example, a spout may read tuples off of a Kestrel queue and emit them as a stream. Or a spout may connect to the Twitter API and emit a stream of tweet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 bolt consumes any number of input streams, does some processing, and possibly emits new streams. Complex stream transformations, like computing a stream of trending topics from a stream of tweets, require multiple steps and thus multiple bolts. Bolts can do anything from run functions, filter tuples, do streaming aggregations, do streaming joins, talk to databases, and mor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Networks of spouts and bolts are packaged into a "topology" which is the top-level abstraction that you submit to Storm clusters for execution. A topology is a graph of stream transformations where each node is a spout or bolt. Edges in the graph indicate which bolts are subscribing to which streams. When a spout or bolt emits a tuple to a stream, it sends the tuple to every bolt that subscribed to that stream.</a:t>
            </a:r>
          </a:p>
          <a:p>
            <a:endParaRPr lang="en-US" baseline="0" dirty="0"/>
          </a:p>
        </p:txBody>
      </p:sp>
      <p:sp>
        <p:nvSpPr>
          <p:cNvPr id="4" name="Slide Number Placeholder 3"/>
          <p:cNvSpPr>
            <a:spLocks noGrp="1"/>
          </p:cNvSpPr>
          <p:nvPr>
            <p:ph type="sldNum" sz="quarter" idx="10"/>
          </p:nvPr>
        </p:nvSpPr>
        <p:spPr/>
        <p:txBody>
          <a:bodyPr/>
          <a:lstStyle/>
          <a:p>
            <a:fld id="{A9BFD490-7017-4A21-9230-2922BC8C97A3}" type="slidenum">
              <a:rPr lang="en-US" smtClean="0"/>
              <a:t>26</a:t>
            </a:fld>
            <a:endParaRPr lang="en-US"/>
          </a:p>
        </p:txBody>
      </p:sp>
    </p:spTree>
    <p:extLst>
      <p:ext uri="{BB962C8B-B14F-4D97-AF65-F5344CB8AC3E}">
        <p14:creationId xmlns:p14="http://schemas.microsoft.com/office/powerpoint/2010/main" val="1427069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7</a:t>
            </a:fld>
            <a:endParaRPr lang="en-US"/>
          </a:p>
        </p:txBody>
      </p:sp>
    </p:spTree>
    <p:extLst>
      <p:ext uri="{BB962C8B-B14F-4D97-AF65-F5344CB8AC3E}">
        <p14:creationId xmlns:p14="http://schemas.microsoft.com/office/powerpoint/2010/main" val="6310897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8</a:t>
            </a:fld>
            <a:endParaRPr lang="en-US"/>
          </a:p>
        </p:txBody>
      </p:sp>
    </p:spTree>
    <p:extLst>
      <p:ext uri="{BB962C8B-B14F-4D97-AF65-F5344CB8AC3E}">
        <p14:creationId xmlns:p14="http://schemas.microsoft.com/office/powerpoint/2010/main" val="3892224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70000" lnSpcReduction="20000"/>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en-US" b="1" dirty="0"/>
              <a:t>Talk Track: </a:t>
            </a:r>
            <a:r>
              <a:rPr lang="en-US" b="0" dirty="0"/>
              <a:t>In</a:t>
            </a:r>
            <a:r>
              <a:rPr lang="en-US" b="0" baseline="0" dirty="0"/>
              <a:t> order to make sense of how various Big Data technologies fit together, the Open Source community has developed what is know as the Big Data Lambda Architecture. </a:t>
            </a:r>
            <a:r>
              <a:rPr lang="en-US" b="0" dirty="0"/>
              <a:t>The “lambda architecture” </a:t>
            </a:r>
            <a:r>
              <a:rPr lang="en-IN" sz="1000" b="0" i="0" kern="1200" dirty="0">
                <a:solidFill>
                  <a:schemeClr val="tx1"/>
                </a:solidFill>
                <a:effectLst/>
                <a:latin typeface="Segoe UI Light" pitchFamily="34" charset="0"/>
                <a:ea typeface="+mn-ea"/>
                <a:cs typeface="+mn-cs"/>
              </a:rPr>
              <a:t>provides an architectural model that scales and which has both the advantages of long-term batch processing and the freshness of a real-time system, with data updated in seconds time. The lambda architecture solves the problem of computing arbitrary functions on arbitrary data in real time by decomposing the problem into three layers: the batch layer, the speed layer, and the serving layer.</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dirty="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kern="1200" dirty="0">
                <a:solidFill>
                  <a:schemeClr val="tx1"/>
                </a:solidFill>
                <a:effectLst/>
                <a:latin typeface="Segoe UI Light" pitchFamily="34" charset="0"/>
                <a:ea typeface="+mn-ea"/>
                <a:cs typeface="+mn-cs"/>
              </a:rPr>
              <a:t>Let’s take a look at each of the three layers.</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dirty="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u="sng" kern="1200" dirty="0">
                <a:solidFill>
                  <a:schemeClr val="tx1"/>
                </a:solidFill>
                <a:effectLst/>
                <a:latin typeface="Segoe UI Light" pitchFamily="34" charset="0"/>
                <a:ea typeface="+mn-ea"/>
                <a:cs typeface="+mn-cs"/>
              </a:rPr>
              <a:t>The Batch Layer</a:t>
            </a:r>
            <a:r>
              <a:rPr lang="en-IN" sz="1000" b="0" i="0" u="sng" kern="1200" baseline="0" dirty="0">
                <a:solidFill>
                  <a:schemeClr val="tx1"/>
                </a:solidFill>
                <a:effectLst/>
                <a:latin typeface="Segoe UI Light" pitchFamily="34" charset="0"/>
                <a:ea typeface="+mn-ea"/>
                <a:cs typeface="+mn-cs"/>
              </a:rPr>
              <a:t> </a:t>
            </a:r>
            <a:r>
              <a:rPr lang="en-IN" sz="1000" b="0" i="0" kern="1200" baseline="0" dirty="0">
                <a:solidFill>
                  <a:schemeClr val="tx1"/>
                </a:solidFill>
                <a:effectLst/>
                <a:latin typeface="Segoe UI Light" pitchFamily="34" charset="0"/>
                <a:ea typeface="+mn-ea"/>
                <a:cs typeface="+mn-cs"/>
              </a:rPr>
              <a:t>s</a:t>
            </a:r>
            <a:r>
              <a:rPr lang="en-IN" sz="1000" b="0" i="0" kern="1200" dirty="0">
                <a:solidFill>
                  <a:schemeClr val="tx1"/>
                </a:solidFill>
                <a:effectLst/>
                <a:latin typeface="Segoe UI Light" pitchFamily="34" charset="0"/>
                <a:ea typeface="+mn-ea"/>
                <a:cs typeface="+mn-cs"/>
              </a:rPr>
              <a:t>tores</a:t>
            </a:r>
            <a:r>
              <a:rPr lang="en-IN" sz="1000" b="0" i="0" kern="1200" baseline="0" dirty="0">
                <a:solidFill>
                  <a:schemeClr val="tx1"/>
                </a:solidFill>
                <a:effectLst/>
                <a:latin typeface="Segoe UI Light" pitchFamily="34" charset="0"/>
                <a:ea typeface="+mn-ea"/>
                <a:cs typeface="+mn-cs"/>
              </a:rPr>
              <a:t> the Master Dataset for you solution – typically in append mode – that is handles new data coming in. The Batch layer is usually:</a:t>
            </a:r>
            <a:r>
              <a:rPr lang="en-US" sz="1000" b="0" i="0" kern="1200" baseline="0" dirty="0">
                <a:solidFill>
                  <a:schemeClr val="tx1"/>
                </a:solidFill>
                <a:effectLst/>
                <a:latin typeface="Segoe UI Light" pitchFamily="34" charset="0"/>
                <a:ea typeface="+mn-ea"/>
                <a:cs typeface="+mn-cs"/>
              </a:rPr>
              <a:t> Read only database. No random writes required.</a:t>
            </a:r>
            <a:r>
              <a:rPr lang="en-IN" sz="1000" b="0" i="0" kern="1200" baseline="0" dirty="0">
                <a:solidFill>
                  <a:schemeClr val="tx1"/>
                </a:solidFill>
                <a:effectLst/>
                <a:latin typeface="Segoe UI Light" pitchFamily="34" charset="0"/>
                <a:ea typeface="+mn-ea"/>
                <a:cs typeface="+mn-cs"/>
              </a:rPr>
              <a:t> It is Horizontal scalable with unrestrained computation and High Latency.</a:t>
            </a:r>
          </a:p>
          <a:p>
            <a:pPr marL="0" marR="0" indent="0" algn="l" defTabSz="932404" rtl="0" eaLnBrk="1" fontAlgn="auto" latinLnBrk="0" hangingPunct="1">
              <a:lnSpc>
                <a:spcPct val="90000"/>
              </a:lnSpc>
              <a:spcBef>
                <a:spcPts val="0"/>
              </a:spcBef>
              <a:spcAft>
                <a:spcPts val="340"/>
              </a:spcAft>
              <a:buClrTx/>
              <a:buSzTx/>
              <a:buFontTx/>
              <a:buNone/>
              <a:tabLst/>
              <a:defRPr/>
            </a:pPr>
            <a:r>
              <a:rPr lang="en-US" sz="1050" b="0" u="sng" kern="0" spc="0" dirty="0">
                <a:solidFill>
                  <a:srgbClr val="FFFFFF"/>
                </a:solidFill>
              </a:rPr>
              <a:t>Speed Layer</a:t>
            </a:r>
            <a:r>
              <a:rPr lang="en-US" sz="1050" b="0" u="sng" kern="0" spc="0" baseline="0" dirty="0">
                <a:solidFill>
                  <a:srgbClr val="FFFFFF"/>
                </a:solidFill>
              </a:rPr>
              <a:t> - </a:t>
            </a:r>
            <a:r>
              <a:rPr lang="en-US" sz="1050" b="0" kern="0" spc="0" baseline="0" dirty="0">
                <a:solidFill>
                  <a:srgbClr val="FFFFFF"/>
                </a:solidFill>
              </a:rPr>
              <a:t>Stream processing and Continuous computation. It provides f</a:t>
            </a:r>
            <a:r>
              <a:rPr lang="en-US" sz="1000" kern="0" spc="0" dirty="0">
                <a:solidFill>
                  <a:srgbClr val="FFFFFF"/>
                </a:solidFill>
              </a:rPr>
              <a:t>ast incremental algorithms. Batch layer eventually overrides speed layer. All the complexity is isolated in the Speed layer. If anything goes wrong, it’s auto-corrected. The views are stored in Read &amp; Write database.</a:t>
            </a:r>
          </a:p>
          <a:p>
            <a:pPr marL="217183" lvl="1" indent="0">
              <a:spcAft>
                <a:spcPts val="600"/>
              </a:spcAft>
              <a:buFont typeface="Arial" panose="020B0604020202020204" pitchFamily="34" charset="0"/>
              <a:buNone/>
            </a:pPr>
            <a:r>
              <a:rPr lang="en-US" sz="1000" kern="0" spc="0" dirty="0">
                <a:solidFill>
                  <a:srgbClr val="FFFFFF"/>
                </a:solidFill>
              </a:rPr>
              <a:t>• MS SQL Server</a:t>
            </a:r>
          </a:p>
          <a:p>
            <a:pPr marL="217183" lvl="1" indent="0">
              <a:spcAft>
                <a:spcPts val="600"/>
              </a:spcAft>
              <a:buFont typeface="Arial" panose="020B0604020202020204" pitchFamily="34" charset="0"/>
              <a:buNone/>
            </a:pPr>
            <a:r>
              <a:rPr lang="en-US" sz="1000" kern="0" spc="0" dirty="0">
                <a:solidFill>
                  <a:srgbClr val="FFFFFF"/>
                </a:solidFill>
              </a:rPr>
              <a:t>• Column Store</a:t>
            </a:r>
          </a:p>
          <a:p>
            <a:pPr marL="217183" lvl="1" indent="0">
              <a:spcAft>
                <a:spcPts val="600"/>
              </a:spcAft>
              <a:buFont typeface="Arial" panose="020B0604020202020204" pitchFamily="34" charset="0"/>
              <a:buNone/>
            </a:pPr>
            <a:r>
              <a:rPr lang="en-US" sz="1000" kern="0" spc="0" dirty="0">
                <a:solidFill>
                  <a:srgbClr val="FFFFFF"/>
                </a:solidFill>
              </a:rPr>
              <a:t>• Cassandra</a:t>
            </a:r>
          </a:p>
          <a:p>
            <a:pPr marL="217183" lvl="1" indent="0">
              <a:spcAft>
                <a:spcPts val="600"/>
              </a:spcAft>
              <a:buFont typeface="Arial" panose="020B0604020202020204" pitchFamily="34" charset="0"/>
              <a:buNone/>
            </a:pPr>
            <a:r>
              <a:rPr lang="en-US" sz="1000" kern="0" spc="0" dirty="0">
                <a:solidFill>
                  <a:srgbClr val="FFFFFF"/>
                </a:solidFill>
              </a:rPr>
              <a:t>• …</a:t>
            </a:r>
          </a:p>
          <a:p>
            <a:pPr marL="217183" lvl="1" indent="0">
              <a:spcAft>
                <a:spcPts val="600"/>
              </a:spcAft>
              <a:buFont typeface="Arial" panose="020B0604020202020204" pitchFamily="34" charset="0"/>
              <a:buNone/>
            </a:pPr>
            <a:r>
              <a:rPr lang="en-US" sz="1000" kern="0" spc="0" dirty="0">
                <a:solidFill>
                  <a:srgbClr val="FFFFFF"/>
                </a:solidFill>
              </a:rPr>
              <a:t>• Much more complex than a read only view.</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u="sng" kern="0" spc="0" dirty="0">
                <a:solidFill>
                  <a:srgbClr val="FFFFFF"/>
                </a:solidFill>
              </a:rPr>
              <a:t>Service Layer: </a:t>
            </a:r>
            <a:r>
              <a:rPr lang="en-US" sz="1000" kern="1200" dirty="0">
                <a:solidFill>
                  <a:schemeClr val="tx1"/>
                </a:solidFill>
                <a:effectLst/>
                <a:latin typeface="Segoe UI Light" pitchFamily="34" charset="0"/>
                <a:ea typeface="+mn-ea"/>
                <a:cs typeface="+mn-cs"/>
              </a:rPr>
              <a:t>The service layer provides the merged outcome of data streams coming from the Batch layer and the speed .</a:t>
            </a:r>
            <a:r>
              <a:rPr lang="en-US" sz="1000" b="0" kern="0" spc="0" dirty="0">
                <a:solidFill>
                  <a:srgbClr val="FFFFFF"/>
                </a:solidFill>
              </a:rPr>
              <a:t>This layer queries the Batch &amp; Real Time views and merges it. </a:t>
            </a:r>
            <a:r>
              <a:rPr lang="en-US" sz="1000" b="0" kern="0" spc="0" dirty="0" err="1">
                <a:solidFill>
                  <a:srgbClr val="FFFFFF"/>
                </a:solidFill>
              </a:rPr>
              <a:t>PolyBase</a:t>
            </a:r>
            <a:r>
              <a:rPr lang="en-US" sz="1000" b="0" kern="0" spc="0" dirty="0">
                <a:solidFill>
                  <a:srgbClr val="FFFFFF"/>
                </a:solidFill>
              </a:rPr>
              <a:t> is a great fit.</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b="0" kern="0" spc="0" dirty="0">
              <a:solidFill>
                <a:srgbClr val="FFFFFF"/>
              </a:solidFill>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00" b="1" kern="1200" dirty="0">
                <a:solidFill>
                  <a:schemeClr val="tx1"/>
                </a:solidFill>
                <a:effectLst/>
                <a:latin typeface="Segoe UI Light" pitchFamily="34" charset="0"/>
                <a:ea typeface="+mn-ea"/>
                <a:cs typeface="+mn-cs"/>
              </a:rPr>
              <a:t>Key Points</a:t>
            </a:r>
            <a:r>
              <a:rPr lang="en-US" sz="1000" b="1" kern="1200" baseline="0" dirty="0">
                <a:solidFill>
                  <a:schemeClr val="tx1"/>
                </a:solidFill>
                <a:effectLst/>
                <a:latin typeface="Segoe UI Light" pitchFamily="34" charset="0"/>
                <a:ea typeface="+mn-ea"/>
                <a:cs typeface="+mn-cs"/>
              </a:rPr>
              <a:t>:</a:t>
            </a: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0" dirty="0"/>
              <a:t>Lambda Architecture</a:t>
            </a:r>
            <a:r>
              <a:rPr lang="en-US" b="0" baseline="0" dirty="0"/>
              <a:t>  with three layer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dirty="0">
                <a:solidFill>
                  <a:srgbClr val="FFFFFF"/>
                </a:solidFill>
              </a:rPr>
              <a:t>The Batch Layer</a:t>
            </a:r>
            <a:r>
              <a:rPr lang="en-US" sz="1000" b="0" kern="0" spc="0" baseline="0" dirty="0">
                <a:solidFill>
                  <a:srgbClr val="FFFFFF"/>
                </a:solidFill>
              </a:rPr>
              <a:t> -Stores Master Dataset</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dirty="0">
                <a:solidFill>
                  <a:srgbClr val="FFFFFF"/>
                </a:solidFill>
              </a:rPr>
              <a:t>The Speed layer –Stream Processing  for real time view</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dirty="0">
                <a:solidFill>
                  <a:srgbClr val="FFFFFF"/>
                </a:solidFill>
              </a:rPr>
              <a:t>The Service Layer-</a:t>
            </a:r>
            <a:r>
              <a:rPr lang="en-US" sz="1000" b="0" kern="1200" dirty="0">
                <a:solidFill>
                  <a:schemeClr val="tx1"/>
                </a:solidFill>
                <a:effectLst/>
                <a:latin typeface="Segoe UI Light" pitchFamily="34" charset="0"/>
                <a:ea typeface="+mn-ea"/>
                <a:cs typeface="+mn-cs"/>
              </a:rPr>
              <a:t>merged outcome of data streams coming from the Batch layer and the speed layer</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000" b="0" kern="0" spc="0" dirty="0">
              <a:solidFill>
                <a:srgbClr val="FFFFFF"/>
              </a:solidFill>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b="1" dirty="0"/>
              <a:t>References: </a:t>
            </a:r>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b="0" dirty="0"/>
              <a:t> </a:t>
            </a:r>
            <a:r>
              <a:rPr lang="en-US" sz="1000" b="0" i="0" kern="1200" dirty="0">
                <a:solidFill>
                  <a:schemeClr val="tx1"/>
                </a:solidFill>
                <a:effectLst/>
                <a:latin typeface="Segoe UI Light" pitchFamily="34" charset="0"/>
                <a:ea typeface="+mn-ea"/>
                <a:cs typeface="+mn-cs"/>
              </a:rPr>
              <a:t>Big Data Lambda Architecture: </a:t>
            </a:r>
            <a:r>
              <a:rPr lang="en-US" b="0" dirty="0">
                <a:hlinkClick r:id="rId3"/>
              </a:rPr>
              <a:t> http://www.databasetube.com/database/big-data-lambda-architecture/</a:t>
            </a:r>
            <a:endParaRPr lang="en-US" b="0" dirty="0"/>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sz="1000" b="0" i="0" kern="1200" dirty="0">
                <a:solidFill>
                  <a:schemeClr val="tx1"/>
                </a:solidFill>
                <a:effectLst/>
                <a:latin typeface="Segoe UI Light" pitchFamily="34" charset="0"/>
                <a:ea typeface="+mn-ea"/>
                <a:cs typeface="+mn-cs"/>
              </a:rPr>
              <a:t>Speaker notes from:</a:t>
            </a:r>
            <a:r>
              <a:rPr lang="en-US" sz="1000" b="0" i="0" kern="1200" baseline="0" dirty="0">
                <a:solidFill>
                  <a:schemeClr val="tx1"/>
                </a:solidFill>
                <a:effectLst/>
                <a:latin typeface="Segoe UI Light" pitchFamily="34" charset="0"/>
                <a:ea typeface="+mn-ea"/>
                <a:cs typeface="+mn-cs"/>
              </a:rPr>
              <a:t> </a:t>
            </a:r>
            <a:r>
              <a:rPr lang="en-US" b="0" dirty="0">
                <a:hlinkClick r:id="rId4"/>
              </a:rPr>
              <a:t>http://sqlug.be/files/sqlug/bd/MicrosoftBigDataSQLUG.pdf</a:t>
            </a:r>
            <a:endParaRPr lang="en-US" b="0" dirty="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1006181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9</a:t>
            </a:fld>
            <a:endParaRPr lang="en-US"/>
          </a:p>
        </p:txBody>
      </p:sp>
    </p:spTree>
    <p:extLst>
      <p:ext uri="{BB962C8B-B14F-4D97-AF65-F5344CB8AC3E}">
        <p14:creationId xmlns:p14="http://schemas.microsoft.com/office/powerpoint/2010/main" val="27217535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30</a:t>
            </a:fld>
            <a:endParaRPr lang="en-US"/>
          </a:p>
        </p:txBody>
      </p:sp>
    </p:spTree>
    <p:extLst>
      <p:ext uri="{BB962C8B-B14F-4D97-AF65-F5344CB8AC3E}">
        <p14:creationId xmlns:p14="http://schemas.microsoft.com/office/powerpoint/2010/main" val="4231439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88861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5507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930060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ain thing I really want to take away is – when a customer comes to you and says I have real time needs, I want you to think about developer productivity – driven a lot by query language and the promises we have put on top of it.  We provide a wide array of functions for analytics on streaming data – all the way from simple data manipulation functions, data and time functions, temporal functions, mathematical, string, scaling and many more. We also have in private preview UDF for ML scoring and Geospatial functions.  </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406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Next thing is the concept of reference data. This is very important because people want to shrink payload down because you are transporting data over network, GPRS etc..  they only send data that is very relevant. Payload might only look like sensor A, temp x. But, you need to know where this sensor maps to – in other words, where this located, which manufacturer did we get it from </a:t>
            </a:r>
            <a:r>
              <a:rPr lang="en-US" err="1"/>
              <a:t>etc</a:t>
            </a:r>
            <a:r>
              <a:rPr lang="en-US"/>
              <a:t> – in case it fails etc., So this is called reference data. This is data at rest. In ASA we let you add reference data. You can treat reference data as another stream to further augment your streaming data. Right now we only support reference data in Blobs. Can refresh these blobs @ 5 min frequency. Working actively on adding SQL. All I need to – instead of 2 streaming inputs – 1 ref data, 1 streams, Use same joins on reference data, AND augment the data before storing it. By the way, this is one of the more used features. You can refresh the blob too.</a:t>
            </a:r>
            <a:endParaRPr lang="en-US" b="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12/2017 9:05 A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4417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we spoke to the customers as we were designing and </a:t>
            </a:r>
            <a:r>
              <a:rPr lang="en-US" err="1"/>
              <a:t>definiting</a:t>
            </a:r>
            <a:r>
              <a:rPr lang="en-US"/>
              <a:t> the solution, in almost every case stream analytics was a part of a larger solution that customer was trying to deploy. Whether it is real time Dashboarding for monitoring purposes or whether it was real time monitoring of IT infrastructure equipment. This meant that we needed to be thoughtful about providing out of the box integration with a whole plethora of services that could help build a solution in a relatively quick fashion. </a:t>
            </a:r>
          </a:p>
          <a:p>
            <a:endParaRPr lang="en-US"/>
          </a:p>
          <a:p>
            <a:r>
              <a:rPr lang="en-US"/>
              <a:t>On the ingress side,  with a few clicks you can connect to Event Hub, IOT Hub or Blog storage.</a:t>
            </a:r>
          </a:p>
          <a:p>
            <a:r>
              <a:rPr lang="en-US"/>
              <a:t>I can enrich the streaming data with reference data in in blob store. </a:t>
            </a:r>
          </a:p>
          <a:p>
            <a:r>
              <a:rPr lang="en-US"/>
              <a:t>I can call ML for event scoring in real time. </a:t>
            </a:r>
          </a:p>
          <a:p>
            <a:r>
              <a:rPr lang="en-US"/>
              <a:t>I can egress data to live Dashboarding to PowerBI, OR, could also push data back to EH from where dashboards and reports can pick it up.</a:t>
            </a:r>
          </a:p>
          <a:p>
            <a:r>
              <a:rPr lang="en-US"/>
              <a:t>We have customer who is pushing O/P of stream analytics processing into EH and then have azure website hosted solution into their own custom dashboard</a:t>
            </a:r>
          </a:p>
          <a:p>
            <a:r>
              <a:rPr lang="en-US"/>
              <a:t>I can drive workflows by pushing our events to service bus.  For example, we have a customer opening servicenow tickets – they detect anomaly, push result into SB, and I have a worker role that is calling servicenow API to create tickets. I can do archival for post analysis. Don’t just think about real time alerts. You can also use it to aggregate data, filter data before I store in things like blob storage, ADL, Document DB, SQL and then run USQL ADLA analytics, HDInsights or I can call ML models for things like predictive maintenance.</a:t>
            </a:r>
          </a:p>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79468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note that in this case the value of the timestamp is potentially subject to factors such as network latencies. </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2/12/2017</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7021481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Tumbl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Are non-overlapping </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spc="-71">
                <a:solidFill>
                  <a:schemeClr val="tx2"/>
                </a:solidFill>
                <a:latin typeface="Segoe UI Light" panose="020B0502040204020203" pitchFamily="34" charset="0"/>
              </a:rPr>
              <a:t>An event can belong to only one tumbl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91789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85000" lnSpcReduction="20000"/>
          </a:bodyPr>
          <a:lstStyle/>
          <a:p>
            <a:r>
              <a:rPr lang="en-US" b="1"/>
              <a:t>Talk Track: </a:t>
            </a:r>
            <a:r>
              <a:rPr lang="en-IN" sz="1200" b="0" i="0" kern="1200">
                <a:solidFill>
                  <a:schemeClr val="tx1"/>
                </a:solidFill>
                <a:effectLst/>
                <a:latin typeface="Segoe UI Light" pitchFamily="34" charset="0"/>
                <a:ea typeface="+mn-ea"/>
                <a:cs typeface="+mn-cs"/>
              </a:rPr>
              <a:t>The portion of the lambda architecture that precomputes the batch views is called the batch layer. The batch layer stores the master copy of the dataset and precomputes batch views on that master dataset. The master dataset can be thought of us a very large list of records. The batch layer needs to be able to do two things to do its job: store an immutable, constantly growing master dataset, and compute arbitrary functions on that dataset. The key word here is arbitrary. If you’re going to precompute views on a dataset, you need to be able to do so for any view and any dataset. </a:t>
            </a:r>
          </a:p>
          <a:p>
            <a:r>
              <a:rPr lang="en-IN" sz="1200" b="0" i="0" kern="1200">
                <a:solidFill>
                  <a:schemeClr val="tx1"/>
                </a:solidFill>
                <a:effectLst/>
                <a:latin typeface="Segoe UI Light" pitchFamily="34" charset="0"/>
                <a:ea typeface="+mn-ea"/>
                <a:cs typeface="+mn-cs"/>
              </a:rPr>
              <a:t>The nice thing about the batch layer is that it’s simple to use. Batch computations are written like single-threaded programs yet automatically parallelize across a cluster of machines. This implicit parallelization makes batch layer computations scale to datasets of any size. It’s easy to write robust, highly scalable computations on the batch layer.</a:t>
            </a:r>
          </a:p>
          <a:p>
            <a:r>
              <a:rPr lang="en-IN" sz="1200" b="0" i="0" kern="1200">
                <a:solidFill>
                  <a:schemeClr val="tx1"/>
                </a:solidFill>
                <a:effectLst/>
                <a:latin typeface="Segoe UI Light" pitchFamily="34" charset="0"/>
                <a:ea typeface="+mn-ea"/>
                <a:cs typeface="+mn-cs"/>
              </a:rPr>
              <a:t>The batch view enables you to get the values you need from it very quickly because it’s indexed.</a:t>
            </a:r>
          </a:p>
          <a:p>
            <a:endParaRPr lang="en-IN" sz="1200" b="0" i="0" kern="1200">
              <a:solidFill>
                <a:schemeClr val="tx1"/>
              </a:solidFill>
              <a:effectLst/>
              <a:latin typeface="Segoe UI Light" pitchFamily="34" charset="0"/>
              <a:ea typeface="+mn-ea"/>
              <a:cs typeface="+mn-cs"/>
            </a:endParaRPr>
          </a:p>
          <a:p>
            <a:r>
              <a:rPr lang="en-IN" sz="1200" b="0" i="0" kern="1200">
                <a:solidFill>
                  <a:schemeClr val="tx1"/>
                </a:solidFill>
                <a:effectLst/>
                <a:latin typeface="Segoe UI Light" pitchFamily="34" charset="0"/>
                <a:ea typeface="+mn-ea"/>
                <a:cs typeface="+mn-cs"/>
              </a:rPr>
              <a:t>Think of technologies like Hadoop and Pig/Hive for use on the Batch layer. Data</a:t>
            </a:r>
            <a:r>
              <a:rPr lang="en-IN" sz="1200" b="0" i="0" kern="1200" baseline="0">
                <a:solidFill>
                  <a:schemeClr val="tx1"/>
                </a:solidFill>
                <a:effectLst/>
                <a:latin typeface="Segoe UI Light" pitchFamily="34" charset="0"/>
                <a:ea typeface="+mn-ea"/>
                <a:cs typeface="+mn-cs"/>
              </a:rPr>
              <a:t> warehouse database technologies can also be associated with the Batch layer.</a:t>
            </a:r>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kern="0" spc="0">
                <a:solidFill>
                  <a:srgbClr val="FFFFFF"/>
                </a:solidFill>
              </a:rPr>
              <a:t>The Batch Layer</a:t>
            </a:r>
            <a:r>
              <a:rPr lang="en-US" sz="1200" b="0" kern="0" spc="0" baseline="0">
                <a:solidFill>
                  <a:srgbClr val="FFFFFF"/>
                </a:solidFill>
              </a:rPr>
              <a:t> -Stores Master Dataset and </a:t>
            </a:r>
            <a:r>
              <a:rPr lang="en-IN" sz="1200" b="0" i="0" kern="1200">
                <a:solidFill>
                  <a:schemeClr val="tx1"/>
                </a:solidFill>
                <a:effectLst/>
                <a:latin typeface="Segoe UI Light" pitchFamily="34" charset="0"/>
                <a:ea typeface="+mn-ea"/>
                <a:cs typeface="+mn-cs"/>
              </a:rPr>
              <a:t>precomputes batch views on that master dataset</a:t>
            </a:r>
            <a:endParaRPr lang="en-US" sz="1200" b="0" kern="0" spc="0" baseline="0">
              <a:solidFill>
                <a:srgbClr val="FFFFFF"/>
              </a:solidFill>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IN" sz="1200" b="0" i="0" kern="1200">
                <a:solidFill>
                  <a:schemeClr val="tx1"/>
                </a:solidFill>
                <a:effectLst/>
                <a:latin typeface="Segoe UI Light" pitchFamily="34" charset="0"/>
                <a:ea typeface="+mn-ea"/>
                <a:cs typeface="+mn-cs"/>
              </a:rPr>
              <a:t>Store an immutable, constantly growing master dataset, and compute arbitrary functions on that dataset</a:t>
            </a:r>
            <a:r>
              <a:rPr lang="en-US" sz="1200" b="0" kern="1200">
                <a:solidFill>
                  <a:schemeClr val="tx1"/>
                </a:solidFill>
                <a:effectLst/>
                <a:latin typeface="Segoe UI Light" pitchFamily="34" charset="0"/>
                <a:ea typeface="+mn-ea"/>
                <a:cs typeface="+mn-cs"/>
              </a:rPr>
              <a:t>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i="0" kern="1200">
                <a:solidFill>
                  <a:schemeClr val="tx1"/>
                </a:solidFill>
                <a:effectLst/>
                <a:latin typeface="Segoe UI Light" pitchFamily="34" charset="0"/>
                <a:ea typeface="+mn-ea"/>
                <a:cs typeface="+mn-cs"/>
              </a:rPr>
              <a:t>Read only database. No random writes required.</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endParaRPr lang="en-US" b="1"/>
          </a:p>
          <a:p>
            <a:endParaRPr lang="en-US" b="1"/>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8648040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Hopp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Hop forward in time by a fixed period</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an overlap </a:t>
            </a:r>
          </a:p>
          <a:p>
            <a:pPr>
              <a:spcBef>
                <a:spcPts val="1224"/>
              </a:spcBef>
              <a:spcAft>
                <a:spcPts val="612"/>
              </a:spcAft>
            </a:pPr>
            <a:r>
              <a:rPr lang="en-US" sz="900" spc="-71">
                <a:solidFill>
                  <a:schemeClr val="tx2"/>
                </a:solidFill>
                <a:latin typeface="Segoe UI Light" panose="020B0502040204020203" pitchFamily="34" charset="0"/>
              </a:rPr>
              <a:t>Same as tumbling window if hop size = window size</a:t>
            </a:r>
          </a:p>
          <a:p>
            <a:pPr>
              <a:spcAft>
                <a:spcPts val="1224"/>
              </a:spcAft>
            </a:pPr>
            <a:r>
              <a:rPr lang="en-US" sz="900" spc="-71">
                <a:solidFill>
                  <a:schemeClr val="tx2"/>
                </a:solidFill>
                <a:latin typeface="Segoe UI Light" panose="020B0502040204020203" pitchFamily="34" charset="0"/>
              </a:rPr>
              <a:t>Events can belong to more than one hopp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231739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Sliding window:</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ontinuously moves forward by an € (epsilon) </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Produces an output </a:t>
            </a:r>
            <a:r>
              <a:rPr lang="en-US" sz="900" i="1" spc="-71">
                <a:solidFill>
                  <a:schemeClr val="tx2"/>
                </a:solidFill>
                <a:latin typeface="Segoe UI Light" panose="020B0502040204020203" pitchFamily="34" charset="0"/>
              </a:rPr>
              <a:t>only during the occurrence of an even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Every windows will have at least one event</a:t>
            </a:r>
          </a:p>
          <a:p>
            <a:pPr>
              <a:spcAft>
                <a:spcPts val="612"/>
              </a:spcAft>
            </a:pPr>
            <a:endParaRPr lang="en-US" sz="900" spc="-71">
              <a:solidFill>
                <a:schemeClr val="tx2"/>
              </a:solidFill>
              <a:latin typeface="Segoe UI Light" panose="020B0502040204020203" pitchFamily="34" charset="0"/>
            </a:endParaRPr>
          </a:p>
          <a:p>
            <a:pPr>
              <a:spcAft>
                <a:spcPts val="1224"/>
              </a:spcAft>
            </a:pPr>
            <a:r>
              <a:rPr lang="en-US" sz="900" spc="-71">
                <a:solidFill>
                  <a:schemeClr val="tx2"/>
                </a:solidFill>
                <a:latin typeface="Segoe UI Light" panose="020B0502040204020203" pitchFamily="34" charset="0"/>
              </a:rPr>
              <a:t>Events can belong to more than one slid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417835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56300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5</a:t>
            </a:fld>
            <a:endParaRPr lang="en-US"/>
          </a:p>
        </p:txBody>
      </p:sp>
    </p:spTree>
    <p:extLst>
      <p:ext uri="{BB962C8B-B14F-4D97-AF65-F5344CB8AC3E}">
        <p14:creationId xmlns:p14="http://schemas.microsoft.com/office/powerpoint/2010/main" val="19301137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219730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12/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464698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9</a:t>
            </a:fld>
            <a:endParaRPr lang="en-US"/>
          </a:p>
        </p:txBody>
      </p:sp>
    </p:spTree>
    <p:extLst>
      <p:ext uri="{BB962C8B-B14F-4D97-AF65-F5344CB8AC3E}">
        <p14:creationId xmlns:p14="http://schemas.microsoft.com/office/powerpoint/2010/main" val="12853523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a:t>
            </a:r>
            <a:r>
              <a:rPr lang="en-US" baseline="0" dirty="0"/>
              <a:t> source</a:t>
            </a:r>
            <a:r>
              <a:rPr lang="en-US" dirty="0"/>
              <a:t>: </a:t>
            </a:r>
          </a:p>
          <a:p>
            <a:r>
              <a:rPr lang="en-US" dirty="0">
                <a:hlinkClick r:id="rId3"/>
              </a:rPr>
              <a:t>http://www.larsgeorge.com/2010/01/hbase-architecture-101-write-ahead-log.html</a:t>
            </a:r>
            <a:r>
              <a:rPr lang="en-US" dirty="0"/>
              <a:t> </a:t>
            </a:r>
          </a:p>
          <a:p>
            <a:endParaRPr lang="en-US" baseline="0" dirty="0"/>
          </a:p>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3234D-6EE1-40D4-82D4-0A5B803D660D}"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2097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92500" lnSpcReduction="20000"/>
          </a:bodyPr>
          <a:lstStyle/>
          <a:p>
            <a:r>
              <a:rPr lang="en-US" b="1"/>
              <a:t>Talk Track: </a:t>
            </a:r>
            <a:r>
              <a:rPr lang="en-IN" sz="1200" b="0" i="0" kern="1200">
                <a:solidFill>
                  <a:schemeClr val="tx1"/>
                </a:solidFill>
                <a:effectLst/>
                <a:latin typeface="Segoe UI Light" pitchFamily="34" charset="0"/>
                <a:ea typeface="+mn-ea"/>
                <a:cs typeface="+mn-cs"/>
              </a:rPr>
              <a:t>You can think of the speed layer as similar to the batch layer in that it produces views based on data it receives. There are some key differences, though. One big difference is that, in order to achieve the fastest latencies possible, the speed layer doesn’t look at all the new data at once. Instead, it updates the real-time view as it receives new data instead of </a:t>
            </a:r>
            <a:r>
              <a:rPr lang="en-IN" sz="1200" b="0" i="0" kern="1200" err="1">
                <a:solidFill>
                  <a:schemeClr val="tx1"/>
                </a:solidFill>
                <a:effectLst/>
                <a:latin typeface="Segoe UI Light" pitchFamily="34" charset="0"/>
                <a:ea typeface="+mn-ea"/>
                <a:cs typeface="+mn-cs"/>
              </a:rPr>
              <a:t>recomputing</a:t>
            </a:r>
            <a:r>
              <a:rPr lang="en-IN" sz="1200" b="0" i="0" kern="1200">
                <a:solidFill>
                  <a:schemeClr val="tx1"/>
                </a:solidFill>
                <a:effectLst/>
                <a:latin typeface="Segoe UI Light" pitchFamily="34" charset="0"/>
                <a:ea typeface="+mn-ea"/>
                <a:cs typeface="+mn-cs"/>
              </a:rPr>
              <a:t> them like the batch layer does.</a:t>
            </a:r>
          </a:p>
          <a:p>
            <a:r>
              <a:rPr lang="en-IN" sz="1200" b="0" i="0" kern="1200">
                <a:solidFill>
                  <a:schemeClr val="tx1"/>
                </a:solidFill>
                <a:effectLst/>
                <a:latin typeface="Segoe UI Light" pitchFamily="34" charset="0"/>
                <a:ea typeface="+mn-ea"/>
                <a:cs typeface="+mn-cs"/>
              </a:rPr>
              <a:t>The speed layer requires typically</a:t>
            </a:r>
            <a:r>
              <a:rPr lang="en-IN" sz="1200" b="0" i="0" kern="1200" baseline="0">
                <a:solidFill>
                  <a:schemeClr val="tx1"/>
                </a:solidFill>
                <a:effectLst/>
                <a:latin typeface="Segoe UI Light" pitchFamily="34" charset="0"/>
                <a:ea typeface="+mn-ea"/>
                <a:cs typeface="+mn-cs"/>
              </a:rPr>
              <a:t> requires </a:t>
            </a:r>
            <a:r>
              <a:rPr lang="en-IN" sz="1200" b="0" i="0" kern="1200">
                <a:solidFill>
                  <a:schemeClr val="tx1"/>
                </a:solidFill>
                <a:effectLst/>
                <a:latin typeface="Segoe UI Light" pitchFamily="34" charset="0"/>
                <a:ea typeface="+mn-ea"/>
                <a:cs typeface="+mn-cs"/>
              </a:rPr>
              <a:t>databases that support random reads and random writes. Because these databases support random writes, they are more complex than the databases you use in the serving layer, both in terms of implementation and operation.</a:t>
            </a:r>
          </a:p>
          <a:p>
            <a:r>
              <a:rPr lang="en-IN" b="0"/>
              <a:t>Most of the application complexity tends to be isolated in the Speed layer. </a:t>
            </a:r>
          </a:p>
          <a:p>
            <a:endParaRPr lang="en-IN" b="0"/>
          </a:p>
          <a:p>
            <a:r>
              <a:rPr lang="en-IN" b="0"/>
              <a:t>Technologies</a:t>
            </a:r>
            <a:r>
              <a:rPr lang="en-IN" b="0" baseline="0"/>
              <a:t> typically considered for the speed layer include in-memory transaction databases and complex event processing engine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tream processing.</a:t>
            </a:r>
          </a:p>
          <a:p>
            <a:pPr marL="171450" indent="-171450">
              <a:buFont typeface="Arial" panose="020B0604020202020204" pitchFamily="34" charset="0"/>
              <a:buChar char="•"/>
            </a:pPr>
            <a:r>
              <a:rPr lang="en-US" b="0"/>
              <a:t>Continuous computation</a:t>
            </a:r>
          </a:p>
          <a:p>
            <a:pPr marL="171450" indent="-171450">
              <a:buFont typeface="Arial" panose="020B0604020202020204" pitchFamily="34" charset="0"/>
              <a:buChar char="•"/>
            </a:pPr>
            <a:r>
              <a:rPr lang="en-US" b="0"/>
              <a:t>Transactional.</a:t>
            </a:r>
          </a:p>
          <a:p>
            <a:pPr marL="171450" indent="-171450">
              <a:buFont typeface="Arial" panose="020B0604020202020204" pitchFamily="34" charset="0"/>
              <a:buChar char="•"/>
            </a:pPr>
            <a:r>
              <a:rPr lang="en-US" b="0"/>
              <a:t>Storing a limited window of data. Compensating for the last few hours of data.</a:t>
            </a:r>
          </a:p>
          <a:p>
            <a:pPr marL="171450" indent="-171450">
              <a:buFont typeface="Arial" panose="020B0604020202020204" pitchFamily="34" charset="0"/>
              <a:buChar char="•"/>
            </a:pPr>
            <a:r>
              <a:rPr lang="en-US" b="0"/>
              <a:t>All the complexity is isolated in the  Speed layer. If anything goes wrong,  it’s auto-corrected. Some algorithms are hard to  implement in real time</a:t>
            </a:r>
          </a:p>
          <a:p>
            <a:endParaRPr lang="en-US" b="1"/>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IN" b="0"/>
          </a:p>
          <a:p>
            <a:endParaRPr lang="en-IN"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234790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a:bodyPr>
          <a:lstStyle/>
          <a:p>
            <a:r>
              <a:rPr lang="en-US" b="1"/>
              <a:t>Talk Track: </a:t>
            </a:r>
            <a:r>
              <a:rPr lang="en-IN" sz="1200" b="0" i="0" kern="1200">
                <a:solidFill>
                  <a:schemeClr val="tx1"/>
                </a:solidFill>
                <a:effectLst/>
                <a:latin typeface="Segoe UI Light" pitchFamily="34" charset="0"/>
                <a:ea typeface="+mn-ea"/>
                <a:cs typeface="+mn-cs"/>
              </a:rPr>
              <a:t>Finally,</a:t>
            </a:r>
            <a:r>
              <a:rPr lang="en-IN" sz="1200" b="0" i="0" kern="1200" baseline="0">
                <a:solidFill>
                  <a:schemeClr val="tx1"/>
                </a:solidFill>
                <a:effectLst/>
                <a:latin typeface="Segoe UI Light" pitchFamily="34" charset="0"/>
                <a:ea typeface="+mn-ea"/>
                <a:cs typeface="+mn-cs"/>
              </a:rPr>
              <a:t> the </a:t>
            </a:r>
            <a:r>
              <a:rPr lang="en-IN" sz="1200" b="0" i="0" kern="1200">
                <a:solidFill>
                  <a:schemeClr val="tx1"/>
                </a:solidFill>
                <a:effectLst/>
                <a:latin typeface="Segoe UI Light" pitchFamily="34" charset="0"/>
                <a:ea typeface="+mn-ea"/>
                <a:cs typeface="+mn-cs"/>
              </a:rPr>
              <a:t>serving layer indexes the batch view and loads it up so it can be efficiently queried to get particular values out of the view. The serving layer is typically considered as a specialized distributed database that loads in batch views, makes them able</a:t>
            </a:r>
            <a:r>
              <a:rPr lang="en-IN" sz="1200" b="0" i="0" kern="1200" baseline="0">
                <a:solidFill>
                  <a:schemeClr val="tx1"/>
                </a:solidFill>
                <a:effectLst/>
                <a:latin typeface="Segoe UI Light" pitchFamily="34" charset="0"/>
                <a:ea typeface="+mn-ea"/>
                <a:cs typeface="+mn-cs"/>
              </a:rPr>
              <a:t> to be queried</a:t>
            </a:r>
            <a:r>
              <a:rPr lang="en-IN" sz="1200" b="0" i="0" kern="1200">
                <a:solidFill>
                  <a:schemeClr val="tx1"/>
                </a:solidFill>
                <a:effectLst/>
                <a:latin typeface="Segoe UI Light" pitchFamily="34" charset="0"/>
                <a:ea typeface="+mn-ea"/>
                <a:cs typeface="+mn-cs"/>
              </a:rPr>
              <a:t>, and continuously swaps in new versions of a batch view as they’re computed by the batch layer. A serving layer database only requires batch updates and random reads. Most notably, it does not need to support random writes. The serving</a:t>
            </a:r>
            <a:r>
              <a:rPr lang="en-IN" sz="1200" b="0" i="0" kern="1200" baseline="0">
                <a:solidFill>
                  <a:schemeClr val="tx1"/>
                </a:solidFill>
                <a:effectLst/>
                <a:latin typeface="Segoe UI Light" pitchFamily="34" charset="0"/>
                <a:ea typeface="+mn-ea"/>
                <a:cs typeface="+mn-cs"/>
              </a:rPr>
              <a:t> layer job is to </a:t>
            </a:r>
            <a:r>
              <a:rPr lang="en-IN" b="0"/>
              <a:t>queries the Batch &amp; Real Time views and merges it. </a:t>
            </a:r>
          </a:p>
          <a:p>
            <a:endParaRPr lang="en-IN" b="0"/>
          </a:p>
          <a:p>
            <a:r>
              <a:rPr lang="en-IN" b="0"/>
              <a:t>Typically the technologies</a:t>
            </a:r>
            <a:r>
              <a:rPr lang="en-IN" b="0" baseline="0"/>
              <a:t> associated with the serving layer include on-line analytic processing databases like Analysis Services and PowerPivot. It can also be considered as the “last mile” technology for producing usable results for your solution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ervice Layer queries the Batch &amp; Real Time views and merges it</a:t>
            </a:r>
          </a:p>
          <a:p>
            <a:endParaRPr lang="en-US" b="0"/>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US" b="0"/>
          </a:p>
          <a:p>
            <a:endParaRPr lang="en-US"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739445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t>Talk Track: </a:t>
            </a:r>
            <a:r>
              <a:rPr lang="en-US" sz="1000" kern="1200" dirty="0">
                <a:solidFill>
                  <a:schemeClr val="tx1"/>
                </a:solidFill>
                <a:effectLst/>
                <a:latin typeface="Segoe UI Light" pitchFamily="34" charset="0"/>
                <a:ea typeface="+mn-ea"/>
                <a:cs typeface="+mn-cs"/>
              </a:rPr>
              <a:t>The Microsoft’s Data Platform stack fully supports each of the layers in the Big Data Lambda Architecture.</a:t>
            </a:r>
          </a:p>
          <a:p>
            <a:endParaRPr lang="en-US" sz="1000" b="0" kern="1200" dirty="0">
              <a:solidFill>
                <a:schemeClr val="tx1"/>
              </a:solidFill>
              <a:effectLst/>
              <a:latin typeface="Segoe UI Light" pitchFamily="34" charset="0"/>
              <a:ea typeface="+mn-ea"/>
              <a:cs typeface="+mn-cs"/>
            </a:endParaRPr>
          </a:p>
          <a:p>
            <a:r>
              <a:rPr lang="en-US" sz="1000" b="0" kern="1200" dirty="0">
                <a:solidFill>
                  <a:schemeClr val="tx1"/>
                </a:solidFill>
                <a:effectLst/>
                <a:latin typeface="Segoe UI Light" pitchFamily="34" charset="0"/>
                <a:ea typeface="+mn-ea"/>
                <a:cs typeface="+mn-cs"/>
              </a:rPr>
              <a:t>For the batch layer, Microsoft</a:t>
            </a:r>
            <a:r>
              <a:rPr lang="en-US" sz="1000" b="0" kern="1200" baseline="0" dirty="0">
                <a:solidFill>
                  <a:schemeClr val="tx1"/>
                </a:solidFill>
                <a:effectLst/>
                <a:latin typeface="Segoe UI Light" pitchFamily="34" charset="0"/>
                <a:ea typeface="+mn-ea"/>
                <a:cs typeface="+mn-cs"/>
              </a:rPr>
              <a:t> provides multiple options for the storage and processing of batch oriented data. These include </a:t>
            </a:r>
            <a:r>
              <a:rPr lang="en-US" sz="1000" kern="1200" dirty="0">
                <a:solidFill>
                  <a:schemeClr val="tx1"/>
                </a:solidFill>
                <a:effectLst/>
                <a:latin typeface="Segoe UI Light" pitchFamily="34" charset="0"/>
                <a:ea typeface="+mn-ea"/>
                <a:cs typeface="+mn-cs"/>
              </a:rPr>
              <a:t>Windows Azure HDInsight</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and Azure Blob Storage to hold the input data. The SQL</a:t>
            </a:r>
            <a:r>
              <a:rPr lang="en-US" sz="1000" kern="1200" baseline="0" dirty="0">
                <a:solidFill>
                  <a:schemeClr val="tx1"/>
                </a:solidFill>
                <a:effectLst/>
                <a:latin typeface="Segoe UI Light" pitchFamily="34" charset="0"/>
                <a:ea typeface="+mn-ea"/>
                <a:cs typeface="+mn-cs"/>
              </a:rPr>
              <a:t> Server data warehousing capabilities can also be associated with the batch layer.</a:t>
            </a:r>
            <a:endParaRPr lang="en-US" sz="1000" kern="1200" dirty="0">
              <a:solidFill>
                <a:schemeClr val="tx1"/>
              </a:solidFill>
              <a:effectLst/>
              <a:latin typeface="Segoe UI Light" pitchFamily="34" charset="0"/>
              <a:ea typeface="+mn-ea"/>
              <a:cs typeface="+mn-cs"/>
            </a:endParaRPr>
          </a:p>
          <a:p>
            <a:pPr lvl="0"/>
            <a:r>
              <a:rPr lang="en-US" sz="1000" b="0" kern="1200" dirty="0">
                <a:solidFill>
                  <a:schemeClr val="tx1"/>
                </a:solidFill>
                <a:effectLst/>
                <a:latin typeface="Segoe UI Light" pitchFamily="34" charset="0"/>
                <a:ea typeface="+mn-ea"/>
                <a:cs typeface="+mn-cs"/>
              </a:rPr>
              <a:t>For processing the data and view management, Microsoft</a:t>
            </a:r>
            <a:r>
              <a:rPr lang="en-US" sz="1000" b="0" kern="1200" baseline="0" dirty="0">
                <a:solidFill>
                  <a:schemeClr val="tx1"/>
                </a:solidFill>
                <a:effectLst/>
                <a:latin typeface="Segoe UI Light" pitchFamily="34" charset="0"/>
                <a:ea typeface="+mn-ea"/>
                <a:cs typeface="+mn-cs"/>
              </a:rPr>
              <a:t> supports processing of Hadoop data through MapReduce jobs along with Hive, Pig, and </a:t>
            </a:r>
            <a:r>
              <a:rPr lang="en-US" sz="1000" b="0" kern="1200" baseline="0" dirty="0" err="1">
                <a:solidFill>
                  <a:schemeClr val="tx1"/>
                </a:solidFill>
                <a:effectLst/>
                <a:latin typeface="Segoe UI Light" pitchFamily="34" charset="0"/>
                <a:ea typeface="+mn-ea"/>
                <a:cs typeface="+mn-cs"/>
              </a:rPr>
              <a:t>Oozie</a:t>
            </a:r>
            <a:r>
              <a:rPr lang="en-US" sz="1000" b="0" kern="1200" baseline="0" dirty="0">
                <a:solidFill>
                  <a:schemeClr val="tx1"/>
                </a:solidFill>
                <a:effectLst/>
                <a:latin typeface="Segoe UI Light" pitchFamily="34" charset="0"/>
                <a:ea typeface="+mn-ea"/>
                <a:cs typeface="+mn-cs"/>
              </a:rPr>
              <a:t>. For data warehousing, you can use traditional SQL views and stored procedures.</a:t>
            </a:r>
            <a:endParaRPr lang="en-US" sz="1000" kern="1200" dirty="0">
              <a:solidFill>
                <a:schemeClr val="tx1"/>
              </a:solidFill>
              <a:effectLst/>
              <a:latin typeface="Segoe UI Light" pitchFamily="34" charset="0"/>
              <a:ea typeface="+mn-ea"/>
              <a:cs typeface="+mn-cs"/>
            </a:endParaRPr>
          </a:p>
          <a:p>
            <a:pPr lvl="0"/>
            <a:endParaRPr lang="en-US" sz="1000" kern="1200" dirty="0">
              <a:solidFill>
                <a:schemeClr val="tx1"/>
              </a:solidFill>
              <a:effectLst/>
              <a:latin typeface="Segoe UI Light" pitchFamily="34" charset="0"/>
              <a:ea typeface="+mn-ea"/>
              <a:cs typeface="+mn-cs"/>
            </a:endParaRPr>
          </a:p>
          <a:p>
            <a:pPr lvl="0"/>
            <a:r>
              <a:rPr lang="en-US" sz="1000" kern="1200" dirty="0">
                <a:solidFill>
                  <a:schemeClr val="tx1"/>
                </a:solidFill>
                <a:effectLst/>
                <a:latin typeface="Segoe UI Light" pitchFamily="34" charset="0"/>
                <a:ea typeface="+mn-ea"/>
                <a:cs typeface="+mn-cs"/>
              </a:rPr>
              <a:t>For the speed layer, M</a:t>
            </a:r>
            <a:r>
              <a:rPr lang="en-US" sz="1000" b="0" kern="1200" dirty="0">
                <a:solidFill>
                  <a:schemeClr val="tx1"/>
                </a:solidFill>
                <a:effectLst/>
                <a:latin typeface="Segoe UI Light" pitchFamily="34" charset="0"/>
                <a:ea typeface="+mn-ea"/>
                <a:cs typeface="+mn-cs"/>
              </a:rPr>
              <a:t>icrosoft supports </a:t>
            </a:r>
            <a:r>
              <a:rPr lang="en-US" sz="1000" kern="1200" dirty="0">
                <a:solidFill>
                  <a:schemeClr val="tx1"/>
                </a:solidFill>
                <a:effectLst/>
                <a:latin typeface="Segoe UI Light" pitchFamily="34" charset="0"/>
                <a:ea typeface="+mn-ea"/>
                <a:cs typeface="+mn-cs"/>
              </a:rPr>
              <a:t>real-time processing</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of data</a:t>
            </a:r>
            <a:r>
              <a:rPr lang="en-US" sz="1000" kern="1200" baseline="0" dirty="0">
                <a:solidFill>
                  <a:schemeClr val="tx1"/>
                </a:solidFill>
                <a:effectLst/>
                <a:latin typeface="Segoe UI Light" pitchFamily="34" charset="0"/>
                <a:ea typeface="+mn-ea"/>
                <a:cs typeface="+mn-cs"/>
              </a:rPr>
              <a:t> through technologies like </a:t>
            </a:r>
            <a:r>
              <a:rPr lang="en-US" sz="2000" dirty="0">
                <a:gradFill>
                  <a:gsLst>
                    <a:gs pos="2917">
                      <a:schemeClr val="tx1"/>
                    </a:gs>
                    <a:gs pos="30000">
                      <a:schemeClr val="tx1"/>
                    </a:gs>
                  </a:gsLst>
                  <a:lin ang="5400000" scaled="0"/>
                </a:gradFill>
              </a:rPr>
              <a:t>Federations in Windows Azure SQL Database,</a:t>
            </a:r>
            <a:r>
              <a:rPr lang="en-US" sz="2000" baseline="0" dirty="0">
                <a:gradFill>
                  <a:gsLst>
                    <a:gs pos="2917">
                      <a:schemeClr val="tx1"/>
                    </a:gs>
                    <a:gs pos="30000">
                      <a:schemeClr val="tx1"/>
                    </a:gs>
                  </a:gsLst>
                  <a:lin ang="5400000" scaled="0"/>
                </a:gradFill>
              </a:rPr>
              <a:t> </a:t>
            </a:r>
            <a:r>
              <a:rPr lang="en-US" sz="2000" dirty="0">
                <a:gradFill>
                  <a:gsLst>
                    <a:gs pos="2917">
                      <a:schemeClr val="tx1"/>
                    </a:gs>
                    <a:gs pos="30000">
                      <a:schemeClr val="tx1"/>
                    </a:gs>
                  </a:gsLst>
                  <a:lin ang="5400000" scaled="0"/>
                </a:gradFill>
              </a:rPr>
              <a:t>Azure Tables, </a:t>
            </a:r>
            <a:r>
              <a:rPr lang="en-US" sz="2000" dirty="0" err="1">
                <a:gradFill>
                  <a:gsLst>
                    <a:gs pos="2917">
                      <a:schemeClr val="tx1"/>
                    </a:gs>
                    <a:gs pos="30000">
                      <a:schemeClr val="tx1"/>
                    </a:gs>
                  </a:gsLst>
                  <a:lin ang="5400000" scaled="0"/>
                </a:gradFill>
              </a:rPr>
              <a:t>Memcached</a:t>
            </a:r>
            <a:r>
              <a:rPr lang="en-US" sz="2000" dirty="0">
                <a:gradFill>
                  <a:gsLst>
                    <a:gs pos="2917">
                      <a:schemeClr val="tx1"/>
                    </a:gs>
                    <a:gs pos="30000">
                      <a:schemeClr val="tx1"/>
                    </a:gs>
                  </a:gsLst>
                  <a:lin ang="5400000" scaled="0"/>
                </a:gradFill>
              </a:rPr>
              <a:t>/MongoDB, SQL Server database engine and SQL Server VM along with </a:t>
            </a:r>
            <a:r>
              <a:rPr lang="en-US" sz="1600" dirty="0" err="1">
                <a:gradFill>
                  <a:gsLst>
                    <a:gs pos="2917">
                      <a:schemeClr val="tx1"/>
                    </a:gs>
                    <a:gs pos="30000">
                      <a:schemeClr val="tx1"/>
                    </a:gs>
                  </a:gsLst>
                  <a:lin ang="5400000" scaled="0"/>
                </a:gradFill>
              </a:rPr>
              <a:t>Columnstore</a:t>
            </a:r>
            <a:r>
              <a:rPr lang="en-US" sz="1600" dirty="0">
                <a:gradFill>
                  <a:gsLst>
                    <a:gs pos="2917">
                      <a:schemeClr val="tx1"/>
                    </a:gs>
                    <a:gs pos="30000">
                      <a:schemeClr val="tx1"/>
                    </a:gs>
                  </a:gsLst>
                  <a:lin ang="5400000" scaled="0"/>
                </a:gradFill>
              </a:rPr>
              <a:t> Indexes, Analysis Services, </a:t>
            </a:r>
            <a:r>
              <a:rPr lang="en-US" sz="1600" dirty="0" err="1">
                <a:gradFill>
                  <a:gsLst>
                    <a:gs pos="2917">
                      <a:schemeClr val="tx1"/>
                    </a:gs>
                    <a:gs pos="30000">
                      <a:schemeClr val="tx1"/>
                    </a:gs>
                  </a:gsLst>
                  <a:lin ang="5400000" scaled="0"/>
                </a:gradFill>
              </a:rPr>
              <a:t>StreamInsight</a:t>
            </a:r>
            <a:r>
              <a:rPr lang="en-US" sz="1600" dirty="0">
                <a:gradFill>
                  <a:gsLst>
                    <a:gs pos="2917">
                      <a:schemeClr val="tx1"/>
                    </a:gs>
                    <a:gs pos="30000">
                      <a:schemeClr val="tx1"/>
                    </a:gs>
                  </a:gsLst>
                  <a:lin ang="5400000" scaled="0"/>
                </a:gradFill>
              </a:rPr>
              <a:t>. </a:t>
            </a:r>
          </a:p>
          <a:p>
            <a:pPr>
              <a:lnSpc>
                <a:spcPct val="90000"/>
              </a:lnSpc>
              <a:spcAft>
                <a:spcPts val="1200"/>
              </a:spcAft>
            </a:pPr>
            <a:endParaRPr lang="en-US" sz="1600" b="1" kern="1200" dirty="0">
              <a:gradFill>
                <a:gsLst>
                  <a:gs pos="2917">
                    <a:schemeClr val="tx1"/>
                  </a:gs>
                  <a:gs pos="30000">
                    <a:schemeClr val="tx1"/>
                  </a:gs>
                </a:gsLst>
                <a:lin ang="5400000" scaled="0"/>
              </a:gradFill>
              <a:effectLst/>
              <a:latin typeface="Segoe UI Light" pitchFamily="34" charset="0"/>
              <a:ea typeface="+mn-ea"/>
              <a:cs typeface="+mn-cs"/>
            </a:endParaRPr>
          </a:p>
          <a:p>
            <a:pPr>
              <a:lnSpc>
                <a:spcPct val="90000"/>
              </a:lnSpc>
              <a:spcAft>
                <a:spcPts val="1200"/>
              </a:spcAft>
            </a:pPr>
            <a:r>
              <a:rPr lang="en-US" sz="1600" b="0" kern="1200" dirty="0">
                <a:gradFill>
                  <a:gsLst>
                    <a:gs pos="2917">
                      <a:schemeClr val="tx1"/>
                    </a:gs>
                    <a:gs pos="30000">
                      <a:schemeClr val="tx1"/>
                    </a:gs>
                  </a:gsLst>
                  <a:lin ang="5400000" scaled="0"/>
                </a:gradFill>
                <a:effectLst/>
                <a:latin typeface="Segoe UI Light" pitchFamily="34" charset="0"/>
                <a:ea typeface="+mn-ea"/>
                <a:cs typeface="+mn-cs"/>
              </a:rPr>
              <a:t>Finally,</a:t>
            </a:r>
            <a:r>
              <a:rPr lang="en-US" sz="1600" b="0" kern="1200" baseline="0" dirty="0">
                <a:gradFill>
                  <a:gsLst>
                    <a:gs pos="2917">
                      <a:schemeClr val="tx1"/>
                    </a:gs>
                    <a:gs pos="30000">
                      <a:schemeClr val="tx1"/>
                    </a:gs>
                  </a:gsLst>
                  <a:lin ang="5400000" scaled="0"/>
                </a:gradFill>
                <a:effectLst/>
                <a:latin typeface="Segoe UI Light" pitchFamily="34" charset="0"/>
                <a:ea typeface="+mn-ea"/>
                <a:cs typeface="+mn-cs"/>
              </a:rPr>
              <a:t> with the serving layer, which </a:t>
            </a:r>
            <a:r>
              <a:rPr lang="en-US" sz="1000" kern="1200" dirty="0">
                <a:solidFill>
                  <a:schemeClr val="tx1"/>
                </a:solidFill>
                <a:effectLst/>
                <a:latin typeface="Segoe UI Light" pitchFamily="34" charset="0"/>
                <a:ea typeface="+mn-ea"/>
                <a:cs typeface="+mn-cs"/>
              </a:rPr>
              <a:t>provides the merged outcome of data streams coming from the Batch layer and the speed layer,</a:t>
            </a:r>
            <a:r>
              <a:rPr lang="en-US" sz="1000" kern="1200" baseline="0" dirty="0">
                <a:solidFill>
                  <a:schemeClr val="tx1"/>
                </a:solidFill>
                <a:effectLst/>
                <a:latin typeface="Segoe UI Light" pitchFamily="34" charset="0"/>
                <a:ea typeface="+mn-ea"/>
                <a:cs typeface="+mn-cs"/>
              </a:rPr>
              <a:t> you can use </a:t>
            </a:r>
            <a:r>
              <a:rPr lang="en-US" sz="1000" kern="1200" dirty="0">
                <a:solidFill>
                  <a:schemeClr val="tx1"/>
                </a:solidFill>
                <a:effectLst/>
                <a:latin typeface="Segoe UI Light" pitchFamily="34" charset="0"/>
                <a:ea typeface="+mn-ea"/>
                <a:cs typeface="+mn-cs"/>
              </a:rPr>
              <a:t>tools like PowerPivot, Power View, Power Query, Power Map, Reporting Services,</a:t>
            </a:r>
            <a:r>
              <a:rPr lang="en-US" sz="1000" kern="1200" baseline="0" dirty="0">
                <a:solidFill>
                  <a:schemeClr val="tx1"/>
                </a:solidFill>
                <a:effectLst/>
                <a:latin typeface="Segoe UI Light" pitchFamily="34" charset="0"/>
                <a:ea typeface="+mn-ea"/>
                <a:cs typeface="+mn-cs"/>
              </a:rPr>
              <a:t> </a:t>
            </a:r>
            <a:r>
              <a:rPr lang="en-US" sz="1000" dirty="0">
                <a:gradFill>
                  <a:gsLst>
                    <a:gs pos="2917">
                      <a:schemeClr val="tx1"/>
                    </a:gs>
                    <a:gs pos="30000">
                      <a:schemeClr val="tx1"/>
                    </a:gs>
                  </a:gsLst>
                  <a:lin ang="5400000" scaled="0"/>
                </a:gradFill>
              </a:rPr>
              <a:t>LINQ to Hive and Analysis Services technologies.</a:t>
            </a:r>
            <a:r>
              <a:rPr lang="en-US" sz="1000" kern="1200" baseline="0" dirty="0">
                <a:solidFill>
                  <a:schemeClr val="tx1"/>
                </a:solidFill>
                <a:effectLst/>
                <a:latin typeface="Segoe UI Light" pitchFamily="34" charset="0"/>
                <a:ea typeface="+mn-ea"/>
                <a:cs typeface="+mn-cs"/>
              </a:rPr>
              <a:t> </a:t>
            </a:r>
          </a:p>
          <a:p>
            <a:pPr>
              <a:lnSpc>
                <a:spcPct val="90000"/>
              </a:lnSpc>
              <a:spcAft>
                <a:spcPts val="1200"/>
              </a:spcAft>
            </a:pPr>
            <a:endParaRPr lang="en-US" sz="100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Key Points:</a:t>
            </a:r>
            <a:endParaRPr lang="en-US" sz="1000" b="1" kern="1200" baseline="0" dirty="0">
              <a:solidFill>
                <a:schemeClr val="tx1"/>
              </a:solidFill>
              <a:effectLst/>
              <a:latin typeface="Segoe UI Light" pitchFamily="34" charset="0"/>
              <a:ea typeface="+mn-ea"/>
              <a:cs typeface="+mn-cs"/>
            </a:endParaRPr>
          </a:p>
          <a:p>
            <a:r>
              <a:rPr lang="en-US" sz="1000" b="0" dirty="0"/>
              <a:t>Microsoft</a:t>
            </a:r>
            <a:r>
              <a:rPr lang="en-US" sz="1000" b="0" baseline="0" dirty="0"/>
              <a:t> provides a complete BI solution, which can be entirely aligned with all the three layers of the Lambda Architecture. </a:t>
            </a:r>
            <a:endParaRPr lang="en-US" sz="1000" b="0" dirty="0"/>
          </a:p>
          <a:p>
            <a:endParaRPr lang="en-US" sz="1000" b="0" dirty="0"/>
          </a:p>
          <a:p>
            <a:pPr marL="0" marR="0" indent="0" algn="l" defTabSz="932404" rtl="0" eaLnBrk="1" fontAlgn="auto" latinLnBrk="0" hangingPunct="1">
              <a:lnSpc>
                <a:spcPct val="90000"/>
              </a:lnSpc>
              <a:spcBef>
                <a:spcPts val="0"/>
              </a:spcBef>
              <a:spcAft>
                <a:spcPts val="340"/>
              </a:spcAft>
              <a:buClrTx/>
              <a:buSzTx/>
              <a:buFontTx/>
              <a:buNone/>
              <a:tabLst/>
              <a:defRPr/>
            </a:pPr>
            <a:r>
              <a:rPr lang="en-US" sz="1000" b="1" dirty="0"/>
              <a:t>References: </a:t>
            </a:r>
            <a:r>
              <a:rPr lang="en-US" sz="1000" b="0" i="0" kern="1200" dirty="0">
                <a:solidFill>
                  <a:schemeClr val="tx1"/>
                </a:solidFill>
                <a:effectLst/>
                <a:latin typeface="Segoe UI Light" pitchFamily="34" charset="0"/>
                <a:ea typeface="+mn-ea"/>
                <a:cs typeface="+mn-cs"/>
              </a:rPr>
              <a:t>Big Data Lambda Architecture: </a:t>
            </a:r>
            <a:r>
              <a:rPr lang="en-US" sz="1000" b="0" dirty="0">
                <a:hlinkClick r:id="rId3"/>
              </a:rPr>
              <a:t> http://www.databasetube.com/database/big-data-lambda-architecture/</a:t>
            </a:r>
            <a:endParaRPr lang="en-US" sz="1000" b="0" dirty="0"/>
          </a:p>
          <a:p>
            <a:endParaRPr lang="en-US" sz="1000" b="0" dirty="0"/>
          </a:p>
          <a:p>
            <a:pPr>
              <a:lnSpc>
                <a:spcPct val="90000"/>
              </a:lnSpc>
              <a:spcAft>
                <a:spcPts val="1200"/>
              </a:spcAft>
            </a:pPr>
            <a:endParaRPr lang="en-US" sz="1000" kern="1200" dirty="0">
              <a:solidFill>
                <a:schemeClr val="tx1"/>
              </a:solidFill>
              <a:effectLst/>
              <a:latin typeface="Segoe UI Light" pitchFamily="34" charset="0"/>
              <a:ea typeface="+mn-ea"/>
              <a:cs typeface="+mn-cs"/>
            </a:endParaRPr>
          </a:p>
          <a:p>
            <a:pPr>
              <a:lnSpc>
                <a:spcPct val="90000"/>
              </a:lnSpc>
              <a:spcAft>
                <a:spcPts val="1200"/>
              </a:spcAft>
            </a:pPr>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3140D5-E2FA-4AEC-8459-A4D42649F059}" type="datetime1">
              <a:rPr lang="en-US" smtClean="0">
                <a:solidFill>
                  <a:prstClr val="black"/>
                </a:solidFill>
              </a:rPr>
              <a:pPr/>
              <a:t>12/12/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248171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IN"/>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01F2B26-CF07-4E2A-A6D7-96B233C8EDA3}" type="slidenum">
              <a:rPr kumimoji="0" lang="en-US" sz="1800" b="0" i="0" u="none" strike="noStrike" kern="0" cap="none" spc="0" normalizeH="0" baseline="0" noProof="0">
                <a:ln>
                  <a:noFill/>
                </a:ln>
                <a:solidFill>
                  <a:srgbClr val="000000"/>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rgbClr val="000000"/>
              </a:solidFill>
              <a:effectLst/>
              <a:uLnTx/>
              <a:uFillTx/>
              <a:latin typeface="Segoe UI"/>
            </a:endParaRPr>
          </a:p>
        </p:txBody>
      </p:sp>
    </p:spTree>
    <p:extLst>
      <p:ext uri="{BB962C8B-B14F-4D97-AF65-F5344CB8AC3E}">
        <p14:creationId xmlns:p14="http://schemas.microsoft.com/office/powerpoint/2010/main" val="4181868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Event Hubs contains the following key elements:+</a:t>
            </a:r>
          </a:p>
          <a:p>
            <a:r>
              <a:rPr lang="en-US" sz="1200" kern="1200" dirty="0">
                <a:solidFill>
                  <a:schemeClr val="tx1"/>
                </a:solidFill>
                <a:effectLst/>
                <a:latin typeface="+mn-lt"/>
                <a:ea typeface="+mn-ea"/>
                <a:cs typeface="+mn-cs"/>
              </a:rPr>
              <a:t>Event producers/publishers: An entity that sends data to an event hub. An event is published via AMQP 1.0 or HTTPS.</a:t>
            </a:r>
          </a:p>
          <a:p>
            <a:r>
              <a:rPr lang="en-US" sz="1200" kern="1200" dirty="0">
                <a:solidFill>
                  <a:schemeClr val="tx1"/>
                </a:solidFill>
                <a:effectLst/>
                <a:latin typeface="+mn-lt"/>
                <a:ea typeface="+mn-ea"/>
                <a:cs typeface="+mn-cs"/>
              </a:rPr>
              <a:t>Capture: Enables you to capture Event Hubs streaming data and store it in an Azure Blob storage account.</a:t>
            </a:r>
          </a:p>
          <a:p>
            <a:r>
              <a:rPr lang="en-US" sz="1200" kern="1200" dirty="0">
                <a:solidFill>
                  <a:schemeClr val="tx1"/>
                </a:solidFill>
                <a:effectLst/>
                <a:latin typeface="+mn-lt"/>
                <a:ea typeface="+mn-ea"/>
                <a:cs typeface="+mn-cs"/>
              </a:rPr>
              <a:t>Partitions: Enables each consumer to only read a specific subset, or partition, of the event stream.</a:t>
            </a:r>
          </a:p>
          <a:p>
            <a:r>
              <a:rPr lang="en-US" sz="1200" kern="1200" dirty="0">
                <a:solidFill>
                  <a:schemeClr val="tx1"/>
                </a:solidFill>
                <a:effectLst/>
                <a:latin typeface="+mn-lt"/>
                <a:ea typeface="+mn-ea"/>
                <a:cs typeface="+mn-cs"/>
              </a:rPr>
              <a:t>SAS tokens: Identifies and authenticates the event publisher.</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a:p>
        </p:txBody>
      </p:sp>
    </p:spTree>
    <p:extLst>
      <p:ext uri="{BB962C8B-B14F-4D97-AF65-F5344CB8AC3E}">
        <p14:creationId xmlns:p14="http://schemas.microsoft.com/office/powerpoint/2010/main" val="38666241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76087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238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ext uri="{BB962C8B-B14F-4D97-AF65-F5344CB8AC3E}">
        <p14:creationId xmlns:p14="http://schemas.microsoft.com/office/powerpoint/2010/main" val="360341212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CE9A9-04F4-48DF-965B-CDE3851E1A17}"/>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3C47F-7AC9-4028-B6CD-B9175DB0D09D}"/>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AFB4CC5-4799-42FB-AAF6-3608CA171665}"/>
              </a:ext>
            </a:extLst>
          </p:cNvPr>
          <p:cNvSpPr>
            <a:spLocks noGrp="1"/>
          </p:cNvSpPr>
          <p:nvPr>
            <p:ph type="dt" sz="half" idx="10"/>
          </p:nvPr>
        </p:nvSpPr>
        <p:spPr/>
        <p:txBody>
          <a:bodyPr/>
          <a:lstStyle/>
          <a:p>
            <a:pPr defTabSz="914367">
              <a:defRPr/>
            </a:pPr>
            <a:fld id="{16941A5A-787B-490D-949B-FC3D829C5872}" type="datetimeFigureOut">
              <a:rPr lang="en-US" sz="1765" smtClean="0">
                <a:solidFill>
                  <a:srgbClr val="353535"/>
                </a:solidFill>
                <a:latin typeface="Segoe UI Semilight"/>
              </a:rPr>
              <a:pPr defTabSz="914367">
                <a:defRPr/>
              </a:pPr>
              <a:t>12/12/2017</a:t>
            </a:fld>
            <a:endParaRPr lang="en-US" sz="1765">
              <a:solidFill>
                <a:srgbClr val="353535"/>
              </a:solidFill>
              <a:latin typeface="Segoe UI Semilight"/>
            </a:endParaRPr>
          </a:p>
        </p:txBody>
      </p:sp>
      <p:sp>
        <p:nvSpPr>
          <p:cNvPr id="5" name="Footer Placeholder 4">
            <a:extLst>
              <a:ext uri="{FF2B5EF4-FFF2-40B4-BE49-F238E27FC236}">
                <a16:creationId xmlns:a16="http://schemas.microsoft.com/office/drawing/2014/main" id="{96E4B3FF-9411-4026-A483-20859FD021FC}"/>
              </a:ext>
            </a:extLst>
          </p:cNvPr>
          <p:cNvSpPr>
            <a:spLocks noGrp="1"/>
          </p:cNvSpPr>
          <p:nvPr>
            <p:ph type="ftr" sz="quarter" idx="11"/>
          </p:nvPr>
        </p:nvSpPr>
        <p:spPr/>
        <p:txBody>
          <a:bodyPr/>
          <a:lstStyle/>
          <a:p>
            <a:pPr defTabSz="914367">
              <a:defRPr/>
            </a:pPr>
            <a:endParaRPr lang="en-US" sz="1765">
              <a:solidFill>
                <a:srgbClr val="353535"/>
              </a:solidFill>
              <a:latin typeface="Segoe UI Semilight"/>
            </a:endParaRPr>
          </a:p>
        </p:txBody>
      </p:sp>
      <p:sp>
        <p:nvSpPr>
          <p:cNvPr id="6" name="Slide Number Placeholder 5">
            <a:extLst>
              <a:ext uri="{FF2B5EF4-FFF2-40B4-BE49-F238E27FC236}">
                <a16:creationId xmlns:a16="http://schemas.microsoft.com/office/drawing/2014/main" id="{5E3FBB1C-4111-46E5-97C9-158B962F893B}"/>
              </a:ext>
            </a:extLst>
          </p:cNvPr>
          <p:cNvSpPr>
            <a:spLocks noGrp="1"/>
          </p:cNvSpPr>
          <p:nvPr>
            <p:ph type="sldNum" sz="quarter" idx="12"/>
          </p:nvPr>
        </p:nvSpPr>
        <p:spPr/>
        <p:txBody>
          <a:bodyPr/>
          <a:lstStyle/>
          <a:p>
            <a:pPr defTabSz="914367">
              <a:defRPr/>
            </a:pPr>
            <a:fld id="{0F9D3995-D993-4A9E-AD8D-46D5FFC9B67B}" type="slidenum">
              <a:rPr lang="en-US" sz="1765" smtClean="0">
                <a:solidFill>
                  <a:srgbClr val="353535"/>
                </a:solidFill>
                <a:latin typeface="Segoe UI Semilight"/>
              </a:rPr>
              <a:pPr defTabSz="914367">
                <a:defRPr/>
              </a:pPr>
              <a:t>‹#›</a:t>
            </a:fld>
            <a:endParaRPr lang="en-US" sz="1765">
              <a:solidFill>
                <a:srgbClr val="353535"/>
              </a:solidFill>
              <a:latin typeface="Segoe UI Semilight"/>
            </a:endParaRPr>
          </a:p>
        </p:txBody>
      </p:sp>
    </p:spTree>
    <p:extLst>
      <p:ext uri="{BB962C8B-B14F-4D97-AF65-F5344CB8AC3E}">
        <p14:creationId xmlns:p14="http://schemas.microsoft.com/office/powerpoint/2010/main" val="2668495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731835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5942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765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48333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836858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13375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323334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12334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6577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019045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2906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58143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057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258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8040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941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469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310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808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092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1871282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87497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 Title">
    <p:spTree>
      <p:nvGrpSpPr>
        <p:cNvPr id="1" name=""/>
        <p:cNvGrpSpPr/>
        <p:nvPr/>
      </p:nvGrpSpPr>
      <p:grpSpPr>
        <a:xfrm>
          <a:off x="0" y="0"/>
          <a:ext cx="0" cy="0"/>
          <a:chOff x="0" y="0"/>
          <a:chExt cx="0" cy="0"/>
        </a:xfrm>
      </p:grpSpPr>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83584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2">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464554"/>
            <a:ext cx="11655528"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Title 1"/>
          <p:cNvSpPr>
            <a:spLocks noGrp="1"/>
          </p:cNvSpPr>
          <p:nvPr>
            <p:ph type="title"/>
          </p:nvPr>
        </p:nvSpPr>
        <p:spPr>
          <a:xfrm>
            <a:off x="268928" y="291102"/>
            <a:ext cx="11655840"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6863622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print">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39" y="1428401"/>
            <a:ext cx="5487085" cy="2009681"/>
          </a:xfrm>
        </p:spPr>
        <p:txBody>
          <a:bodyPr/>
          <a:lstStyle>
            <a:lvl1pPr>
              <a:defRPr sz="5294">
                <a:gradFill>
                  <a:gsLst>
                    <a:gs pos="2917">
                      <a:srgbClr val="FFFFFF"/>
                    </a:gs>
                    <a:gs pos="100000">
                      <a:srgbClr val="FFFFFF"/>
                    </a:gs>
                  </a:gsLst>
                  <a:lin ang="5400000" scaled="0"/>
                </a:gradFill>
              </a:defRPr>
            </a:lvl1pPr>
          </a:lstStyle>
          <a:p>
            <a:r>
              <a:rPr lang="en-US"/>
              <a:t>Click to edit Master title style</a:t>
            </a:r>
          </a:p>
        </p:txBody>
      </p:sp>
      <p:sp>
        <p:nvSpPr>
          <p:cNvPr id="17" name="Subtitle 2"/>
          <p:cNvSpPr>
            <a:spLocks noGrp="1"/>
          </p:cNvSpPr>
          <p:nvPr>
            <p:ph type="subTitle" idx="1"/>
          </p:nvPr>
        </p:nvSpPr>
        <p:spPr>
          <a:xfrm>
            <a:off x="269302" y="4325542"/>
            <a:ext cx="5487022" cy="628890"/>
          </a:xfrm>
        </p:spPr>
        <p:txBody>
          <a:bodyPr/>
          <a:lstStyle>
            <a:lvl1pPr marL="0" indent="0" algn="l">
              <a:lnSpc>
                <a:spcPts val="2647"/>
              </a:lnSpc>
              <a:buNone/>
              <a:defRPr sz="2353">
                <a:gradFill>
                  <a:gsLst>
                    <a:gs pos="2917">
                      <a:srgbClr val="FFFFFF"/>
                    </a:gs>
                    <a:gs pos="100000">
                      <a:srgbClr val="FFFFFF"/>
                    </a:gs>
                  </a:gsLst>
                  <a:lin ang="5400000" scaled="0"/>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207828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40229569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39" y="1117577"/>
            <a:ext cx="11653523" cy="675634"/>
          </a:xfrm>
          <a:prstGeom prst="rect">
            <a:avLst/>
          </a:prstGeom>
        </p:spPr>
        <p:txBody>
          <a:bodyPr lIns="192024"/>
          <a:lstStyle>
            <a:lvl1pPr marL="0" indent="0">
              <a:buNone/>
              <a:defRPr lang="en-US" sz="2745" kern="1200" smtClean="0">
                <a:gradFill>
                  <a:gsLst>
                    <a:gs pos="2917">
                      <a:schemeClr val="tx2"/>
                    </a:gs>
                    <a:gs pos="100000">
                      <a:schemeClr val="tx2"/>
                    </a:gs>
                  </a:gsLst>
                  <a:lin ang="5400000" scaled="0"/>
                </a:gra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922744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263175301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3835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7101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endParaRPr lang="en-US"/>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32313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9589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093274"/>
            <a:ext cx="9859116"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Video title</a:t>
            </a:r>
          </a:p>
        </p:txBody>
      </p:sp>
      <p:pic>
        <p:nvPicPr>
          <p:cNvPr id="5" name="Picture 4"/>
          <p:cNvPicPr>
            <a:picLocks noChangeAspect="1"/>
          </p:cNvPicPr>
          <p:nvPr userDrawn="1"/>
        </p:nvPicPr>
        <p:blipFill>
          <a:blip r:embed="rId2">
            <a:alphaModFix amt="25000"/>
          </a:blip>
          <a:stretch>
            <a:fillRect/>
          </a:stretch>
        </p:blipFill>
        <p:spPr>
          <a:xfrm>
            <a:off x="10129913" y="1725569"/>
            <a:ext cx="1293759" cy="2689656"/>
          </a:xfrm>
          <a:prstGeom prst="rect">
            <a:avLst/>
          </a:prstGeom>
        </p:spPr>
      </p:pic>
    </p:spTree>
    <p:extLst>
      <p:ext uri="{BB962C8B-B14F-4D97-AF65-F5344CB8AC3E}">
        <p14:creationId xmlns:p14="http://schemas.microsoft.com/office/powerpoint/2010/main" val="3568559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0616196"/>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669802"/>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144"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249322323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4"/>
            <a:ext cx="8964248" cy="271311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47388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2"/>
            <a:ext cx="11653523" cy="2570822"/>
          </a:xfrm>
        </p:spPr>
        <p:txBody>
          <a:bodyPr lIns="146304" tIns="91440" rIns="146304" bIns="91440"/>
          <a:lstStyle>
            <a:lvl1pPr marL="0" indent="0">
              <a:lnSpc>
                <a:spcPct val="90000"/>
              </a:lnSpc>
              <a:buFontTx/>
              <a:buNone/>
              <a:defRPr sz="8626" b="0">
                <a:solidFill>
                  <a:schemeClr val="bg1"/>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Tree>
    <p:extLst>
      <p:ext uri="{BB962C8B-B14F-4D97-AF65-F5344CB8AC3E}">
        <p14:creationId xmlns:p14="http://schemas.microsoft.com/office/powerpoint/2010/main" val="219692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622148"/>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C3139C-FFD6-4983-8D5F-035A43A5ACBC}" type="datetimeFigureOut">
              <a:rPr lang="en-US" smtClean="0"/>
              <a:t>12/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20DB7A-1AAA-493A-BDD0-74512D29E1F7}" type="slidenum">
              <a:rPr lang="en-US" smtClean="0"/>
              <a:t>‹#›</a:t>
            </a:fld>
            <a:endParaRPr lang="en-US"/>
          </a:p>
        </p:txBody>
      </p:sp>
    </p:spTree>
    <p:extLst>
      <p:ext uri="{BB962C8B-B14F-4D97-AF65-F5344CB8AC3E}">
        <p14:creationId xmlns:p14="http://schemas.microsoft.com/office/powerpoint/2010/main" val="2297153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93546924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2232548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45861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465764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6078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8191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15195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9948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2268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48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08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1493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7550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604953" y="291068"/>
            <a:ext cx="4322760" cy="6275864"/>
          </a:xfrm>
          <a:prstGeom prst="rect">
            <a:avLst/>
          </a:prstGeom>
        </p:spPr>
      </p:pic>
    </p:spTree>
    <p:extLst>
      <p:ext uri="{BB962C8B-B14F-4D97-AF65-F5344CB8AC3E}">
        <p14:creationId xmlns:p14="http://schemas.microsoft.com/office/powerpoint/2010/main" val="1020197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878876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64841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86555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571598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2544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98755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349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1976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87650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794882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26336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29798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74790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01" tIns="45700" rIns="91401" bIns="45700" numCol="1" anchor="t" anchorCtr="0" compatLnSpc="1">
            <a:prstTxWarp prst="textNoShape">
              <a:avLst/>
            </a:prstTxWarp>
          </a:bodyPr>
          <a:lstStyle/>
          <a:p>
            <a:pPr marR="0" lvl="0" indent="0" defTabSz="932205"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7"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01" tIns="45700" rIns="91401" bIns="45700" numCol="1" anchor="t" anchorCtr="0" compatLnSpc="1">
            <a:prstTxWarp prst="textNoShape">
              <a:avLst/>
            </a:prstTxWarp>
          </a:bodyPr>
          <a:lstStyle/>
          <a:p>
            <a:pPr marL="0" marR="0" lvl="0" indent="0" defTabSz="932205"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3"/>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5"/>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9" y="6302646"/>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2"/>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3" y="6600372"/>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8"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1"/>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9"/>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2" y="6491045"/>
            <a:ext cx="936609" cy="206372"/>
          </a:xfrm>
          <a:prstGeom prst="rect">
            <a:avLst/>
          </a:prstGeom>
        </p:spPr>
      </p:pic>
    </p:spTree>
    <p:extLst>
      <p:ext uri="{BB962C8B-B14F-4D97-AF65-F5344CB8AC3E}">
        <p14:creationId xmlns:p14="http://schemas.microsoft.com/office/powerpoint/2010/main" val="47957551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sp>
        <p:nvSpPr>
          <p:cNvPr id="20" name="Title 1"/>
          <p:cNvSpPr>
            <a:spLocks noGrp="1"/>
          </p:cNvSpPr>
          <p:nvPr>
            <p:ph type="ctrTitle" hasCustomPrompt="1"/>
          </p:nvPr>
        </p:nvSpPr>
        <p:spPr>
          <a:xfrm>
            <a:off x="5029149" y="1262332"/>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a:t>Session Title</a:t>
            </a:r>
            <a:endParaRPr lang="en-US"/>
          </a:p>
        </p:txBody>
      </p:sp>
      <p:sp>
        <p:nvSpPr>
          <p:cNvPr id="21" name="Subtitle 2"/>
          <p:cNvSpPr>
            <a:spLocks noGrp="1"/>
          </p:cNvSpPr>
          <p:nvPr>
            <p:ph type="subTitle" idx="1" hasCustomPrompt="1"/>
          </p:nvPr>
        </p:nvSpPr>
        <p:spPr>
          <a:xfrm>
            <a:off x="5028106" y="2532448"/>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a:t>Subtitle</a:t>
            </a:r>
            <a:endParaRPr lang="en-US"/>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sp>
        <p:nvSpPr>
          <p:cNvPr id="4" name="Text Placeholder 3"/>
          <p:cNvSpPr>
            <a:spLocks noGrp="1"/>
          </p:cNvSpPr>
          <p:nvPr>
            <p:ph type="body" sz="quarter" idx="10" hasCustomPrompt="1"/>
          </p:nvPr>
        </p:nvSpPr>
        <p:spPr>
          <a:xfrm>
            <a:off x="5029148" y="3465331"/>
            <a:ext cx="6833627" cy="727700"/>
          </a:xfrm>
        </p:spPr>
        <p:txBody>
          <a:bodyPr/>
          <a:lstStyle>
            <a:lvl1pPr>
              <a:defRPr/>
            </a:lvl1pPr>
          </a:lstStyle>
          <a:p>
            <a:pPr lvl="0"/>
            <a:r>
              <a:rPr lang="en-US"/>
              <a:t>Speaker Name</a:t>
            </a:r>
          </a:p>
        </p:txBody>
      </p:sp>
    </p:spTree>
    <p:extLst>
      <p:ext uri="{BB962C8B-B14F-4D97-AF65-F5344CB8AC3E}">
        <p14:creationId xmlns:p14="http://schemas.microsoft.com/office/powerpoint/2010/main" val="571998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7935011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a:solidFill>
                  <a:schemeClr val="accent4"/>
                </a:solidFill>
              </a:rPr>
              <a:t>Heading One Style </a:t>
            </a:r>
          </a:p>
          <a:p>
            <a:pPr marL="393634" lvl="2" indent="-393634">
              <a:buNone/>
            </a:pPr>
            <a:r>
              <a:rPr lang="en-US">
                <a:solidFill>
                  <a:schemeClr val="tx1">
                    <a:lumMod val="65000"/>
                    <a:lumOff val="35000"/>
                  </a:schemeClr>
                </a:solidFill>
              </a:rPr>
              <a:t>Body content, 18pt Segoe UI (gray)</a:t>
            </a:r>
          </a:p>
          <a:p>
            <a:pPr marL="393634" lvl="2" indent="-393634">
              <a:buNone/>
            </a:pPr>
            <a:endParaRPr lang="en-US">
              <a:solidFill>
                <a:schemeClr val="tx1">
                  <a:lumMod val="65000"/>
                  <a:lumOff val="35000"/>
                </a:schemeClr>
              </a:solidFill>
            </a:endParaRPr>
          </a:p>
          <a:p>
            <a:pPr marL="393634" lvl="2" indent="-393634">
              <a:buNone/>
            </a:pPr>
            <a:r>
              <a:rPr lang="en-US" sz="2666">
                <a:solidFill>
                  <a:schemeClr val="accent6"/>
                </a:solidFill>
              </a:rPr>
              <a:t>Heading Two Style</a:t>
            </a:r>
          </a:p>
          <a:p>
            <a:pPr marL="393634" lvl="2" indent="-393634">
              <a:buNone/>
            </a:pPr>
            <a:r>
              <a:rPr lang="en-US">
                <a:solidFill>
                  <a:schemeClr val="tx1">
                    <a:lumMod val="65000"/>
                    <a:lumOff val="35000"/>
                  </a:schemeClr>
                </a:solidFill>
              </a:rPr>
              <a:t>Body content, 18pt Segoe UI (gray)</a:t>
            </a:r>
          </a:p>
          <a:p>
            <a:pPr marL="393634" lvl="2" indent="-393634">
              <a:buNone/>
            </a:pPr>
            <a:endParaRPr lang="en-US" sz="2666">
              <a:solidFill>
                <a:schemeClr val="accent3"/>
              </a:solidFill>
            </a:endParaRPr>
          </a:p>
          <a:p>
            <a:pPr marL="393634" lvl="2" indent="-393634">
              <a:buNone/>
            </a:pPr>
            <a:r>
              <a:rPr lang="en-US" b="1">
                <a:solidFill>
                  <a:schemeClr val="accent1"/>
                </a:solidFill>
              </a:rPr>
              <a:t>HEADING THREE STYLE</a:t>
            </a:r>
          </a:p>
          <a:p>
            <a:pPr marL="393634" lvl="2" indent="-393634">
              <a:buNone/>
            </a:pPr>
            <a:r>
              <a:rPr lang="en-US">
                <a:solidFill>
                  <a:schemeClr val="tx1">
                    <a:lumMod val="65000"/>
                    <a:lumOff val="35000"/>
                  </a:schemeClr>
                </a:solidFill>
              </a:rPr>
              <a:t>Body content, 18pt Segoe UI (gray)</a:t>
            </a:r>
          </a:p>
          <a:p>
            <a:pPr marL="0" indent="0">
              <a:buNone/>
            </a:pPr>
            <a:endParaRPr lang="en-US"/>
          </a:p>
        </p:txBody>
      </p:sp>
      <p:sp>
        <p:nvSpPr>
          <p:cNvPr id="3" name="Title 2"/>
          <p:cNvSpPr>
            <a:spLocks noGrp="1"/>
          </p:cNvSpPr>
          <p:nvPr>
            <p:ph type="title"/>
          </p:nvPr>
        </p:nvSpPr>
        <p:spPr/>
        <p:txBody>
          <a:bodyPr/>
          <a:lstStyle/>
          <a:p>
            <a:r>
              <a:rPr lang="en-US"/>
              <a:t>Click to edit Master title style</a:t>
            </a:r>
          </a:p>
        </p:txBody>
      </p:sp>
      <p:pic>
        <p:nvPicPr>
          <p:cNvPr id="7"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9161698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4258412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396367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2.13345E-6 L 1.62369E-6 2.13345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2.09714E-6 L -4.54174E-6 -2.09714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7771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C3139C-FFD6-4983-8D5F-035A43A5ACBC}" type="datetimeFigureOut">
              <a:rPr lang="en-US" smtClean="0"/>
              <a:t>12/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20DB7A-1AAA-493A-BDD0-74512D29E1F7}" type="slidenum">
              <a:rPr lang="en-US" smtClean="0"/>
              <a:t>‹#›</a:t>
            </a:fld>
            <a:endParaRPr lang="en-US"/>
          </a:p>
        </p:txBody>
      </p:sp>
    </p:spTree>
    <p:extLst>
      <p:ext uri="{BB962C8B-B14F-4D97-AF65-F5344CB8AC3E}">
        <p14:creationId xmlns:p14="http://schemas.microsoft.com/office/powerpoint/2010/main" val="16797407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15817442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63591"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366667" y="6437243"/>
            <a:ext cx="555783"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a:t>Click to edit Master text</a:t>
            </a:r>
          </a:p>
        </p:txBody>
      </p:sp>
      <p:sp>
        <p:nvSpPr>
          <p:cNvPr id="5" name="Rectangle 4"/>
          <p:cNvSpPr/>
          <p:nvPr userDrawn="1"/>
        </p:nvSpPr>
        <p:spPr bwMode="auto">
          <a:xfrm>
            <a:off x="0" y="6728605"/>
            <a:ext cx="12190444" cy="140138"/>
          </a:xfrm>
          <a:prstGeom prst="rect">
            <a:avLst/>
          </a:prstGeom>
          <a:solidFill>
            <a:srgbClr val="0072C6"/>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441496" y="6434665"/>
            <a:ext cx="935823" cy="239431"/>
          </a:xfrm>
          <a:prstGeom prst="rect">
            <a:avLst/>
          </a:prstGeom>
        </p:spPr>
      </p:pic>
    </p:spTree>
    <p:extLst>
      <p:ext uri="{BB962C8B-B14F-4D97-AF65-F5344CB8AC3E}">
        <p14:creationId xmlns:p14="http://schemas.microsoft.com/office/powerpoint/2010/main" val="672788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270084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566480585"/>
      </p:ext>
    </p:extLst>
  </p:cSld>
  <p:clrMapOvr>
    <a:masterClrMapping/>
  </p:clrMapOvr>
  <p:transition spd="med">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1858817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2464937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2013524975"/>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16997089"/>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3132663305"/>
      </p:ext>
    </p:extLst>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99885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308401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1850820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304508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504094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4.png"/><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3.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theme" Target="../theme/theme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8" Type="http://schemas.openxmlformats.org/officeDocument/2006/relationships/slideLayout" Target="../slideLayouts/slideLayout58.xml"/><Relationship Id="rId3"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heme" Target="../theme/theme5.xml"/><Relationship Id="rId18" Type="http://schemas.openxmlformats.org/officeDocument/2006/relationships/image" Target="../media/image32.png"/><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image" Target="../media/image31.emf"/><Relationship Id="rId2" Type="http://schemas.openxmlformats.org/officeDocument/2006/relationships/slideLayout" Target="../slideLayouts/slideLayout88.xml"/><Relationship Id="rId16" Type="http://schemas.openxmlformats.org/officeDocument/2006/relationships/oleObject" Target="../embeddings/oleObject1.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ags" Target="../tags/tag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70" r:id="rId8"/>
    <p:sldLayoutId id="2147483669" r:id="rId9"/>
    <p:sldLayoutId id="2147483675" r:id="rId10"/>
    <p:sldLayoutId id="2147483676" r:id="rId11"/>
    <p:sldLayoutId id="2147483704" r:id="rId12"/>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4702099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a:p>
        </p:txBody>
      </p:sp>
    </p:spTree>
    <p:extLst>
      <p:ext uri="{BB962C8B-B14F-4D97-AF65-F5344CB8AC3E}">
        <p14:creationId xmlns:p14="http://schemas.microsoft.com/office/powerpoint/2010/main" val="8348870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Lst>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216 G:59 B:1</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120 B:21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92 G:45 B:14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32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363363993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4" name="think-cell Slide" r:id="rId16" imgW="377" imgH="377" progId="TCLayout.ActiveDocument.1">
                  <p:embed/>
                </p:oleObj>
              </mc:Choice>
              <mc:Fallback>
                <p:oleObj name="think-cell Slide" r:id="rId16" imgW="377" imgH="377" progId="TCLayout.ActiveDocument.1">
                  <p:embed/>
                  <p:pic>
                    <p:nvPicPr>
                      <p:cNvPr id="4" name="Object 3" hidden="1"/>
                      <p:cNvPicPr/>
                      <p:nvPr/>
                    </p:nvPicPr>
                    <p:blipFill>
                      <a:blip r:embed="rId1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279577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1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hyperlink" Target="http://kafka.apache.org/"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azure.microsoft.com/en-us/documentation/articles/stream-analytics-stream-analytics-query-patterns/"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6.xml"/><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27.xml"/><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77.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hyperlink" Target="https://azure.microsoft.com/en-us/documentation/articles/hdinsight-apache-spark-use-bi-tools/"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hyperlink" Target="https://azure.microsoft.com/en-us/documentation/articles/hdinsight-apache-spark-jupyter-notebook-install-locally/" TargetMode="External"/><Relationship Id="rId4" Type="http://schemas.openxmlformats.org/officeDocument/2006/relationships/hyperlink" Target="https://azure.microsoft.com/en-us/documentation/articles/hdinsight-apache-spark-use-zeppelin-notebook/" TargetMode="Externa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79.png"/><Relationship Id="rId2" Type="http://schemas.openxmlformats.org/officeDocument/2006/relationships/tags" Target="../tags/tag56.xml"/><Relationship Id="rId1" Type="http://schemas.openxmlformats.org/officeDocument/2006/relationships/vmlDrawing" Target="../drawings/vmlDrawing3.vml"/><Relationship Id="rId6" Type="http://schemas.openxmlformats.org/officeDocument/2006/relationships/image" Target="../media/image31.emf"/><Relationship Id="rId5" Type="http://schemas.openxmlformats.org/officeDocument/2006/relationships/oleObject" Target="../embeddings/oleObject3.bin"/><Relationship Id="rId4" Type="http://schemas.openxmlformats.org/officeDocument/2006/relationships/notesSlide" Target="../notesSlides/notesSlide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7.xml"/><Relationship Id="rId1" Type="http://schemas.openxmlformats.org/officeDocument/2006/relationships/slideLayout" Target="../slideLayouts/slideLayout91.xml"/><Relationship Id="rId5" Type="http://schemas.openxmlformats.org/officeDocument/2006/relationships/image" Target="../media/image81.png"/><Relationship Id="rId4" Type="http://schemas.microsoft.com/office/2007/relationships/hdphoto" Target="../media/hdphoto3.wdp"/></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microsoft.com/office/2007/relationships/hdphoto" Target="../media/hdphoto2.wdp"/><Relationship Id="rId68" Type="http://schemas.openxmlformats.org/officeDocument/2006/relationships/image" Target="../media/image42.gif"/><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oleObject" Target="../embeddings/oleObject2.bin"/><Relationship Id="rId66" Type="http://schemas.openxmlformats.org/officeDocument/2006/relationships/image" Target="../media/image40.jpeg"/><Relationship Id="rId5" Type="http://schemas.openxmlformats.org/officeDocument/2006/relationships/tags" Target="../tags/tag5.xml"/><Relationship Id="rId61" Type="http://schemas.microsoft.com/office/2007/relationships/hdphoto" Target="../media/hdphoto1.wdp"/><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slideLayout" Target="../slideLayouts/slideLayout35.xml"/><Relationship Id="rId64" Type="http://schemas.openxmlformats.org/officeDocument/2006/relationships/image" Target="../media/image38.png"/><Relationship Id="rId69" Type="http://schemas.openxmlformats.org/officeDocument/2006/relationships/image" Target="../media/image43.emf"/><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image" Target="../media/image46.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image" Target="../media/image31.emf"/><Relationship Id="rId67" Type="http://schemas.openxmlformats.org/officeDocument/2006/relationships/image" Target="../media/image41.jpe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image" Target="../media/image37.png"/><Relationship Id="rId70" Type="http://schemas.openxmlformats.org/officeDocument/2006/relationships/image" Target="../media/image44.png"/><Relationship Id="rId1" Type="http://schemas.openxmlformats.org/officeDocument/2006/relationships/vmlDrawing" Target="../drawings/vmlDrawing2.v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notesSlide" Target="../notesSlides/notesSlide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image" Target="../media/image36.png"/><Relationship Id="rId65" Type="http://schemas.openxmlformats.org/officeDocument/2006/relationships/image" Target="../media/image39.png"/><Relationship Id="rId73" Type="http://schemas.openxmlformats.org/officeDocument/2006/relationships/image" Target="../media/image47.emf"/><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71"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a:t>01 | Design big data real-time processing solutions</a:t>
            </a:r>
          </a:p>
        </p:txBody>
      </p:sp>
      <p:sp>
        <p:nvSpPr>
          <p:cNvPr id="4" name="Subtitle 3"/>
          <p:cNvSpPr>
            <a:spLocks noGrp="1"/>
          </p:cNvSpPr>
          <p:nvPr>
            <p:ph type="subTitle" idx="1"/>
          </p:nvPr>
        </p:nvSpPr>
        <p:spPr>
          <a:xfrm>
            <a:off x="193270" y="5132437"/>
            <a:ext cx="8858451" cy="1460779"/>
          </a:xfrm>
        </p:spPr>
        <p:txBody>
          <a:bodyPr/>
          <a:lstStyle/>
          <a:p>
            <a:r>
              <a:rPr lang="en-US" dirty="0"/>
              <a:t>Buck Webb | VP Cloud Services, RedPoint Global</a:t>
            </a:r>
          </a:p>
        </p:txBody>
      </p:sp>
    </p:spTree>
    <p:extLst>
      <p:ext uri="{BB962C8B-B14F-4D97-AF65-F5344CB8AC3E}">
        <p14:creationId xmlns:p14="http://schemas.microsoft.com/office/powerpoint/2010/main" val="193853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54678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Managed Publish-Subscribe service</a:t>
            </a:r>
          </a:p>
          <a:p>
            <a:r>
              <a:rPr lang="en-US"/>
              <a:t>Ingests millions of events per second</a:t>
            </a:r>
          </a:p>
          <a:p>
            <a:r>
              <a:rPr lang="en-US"/>
              <a:t>Elastic scale</a:t>
            </a:r>
          </a:p>
          <a:p>
            <a:r>
              <a:rPr lang="en-US"/>
              <a:t>Connects disparate data sources</a:t>
            </a:r>
          </a:p>
          <a:p>
            <a:r>
              <a:rPr lang="en-US"/>
              <a:t>AMQP and HTTP support as well as native libraries for popular platforms</a:t>
            </a:r>
          </a:p>
        </p:txBody>
      </p:sp>
      <p:sp>
        <p:nvSpPr>
          <p:cNvPr id="3" name="Title 2"/>
          <p:cNvSpPr>
            <a:spLocks noGrp="1"/>
          </p:cNvSpPr>
          <p:nvPr>
            <p:ph type="title"/>
          </p:nvPr>
        </p:nvSpPr>
        <p:spPr/>
        <p:txBody>
          <a:bodyPr/>
          <a:lstStyle/>
          <a:p>
            <a:r>
              <a:rPr lang="en-US"/>
              <a:t>Event Hubs</a:t>
            </a:r>
          </a:p>
        </p:txBody>
      </p:sp>
      <p:pic>
        <p:nvPicPr>
          <p:cNvPr id="4" name="Picture 3"/>
          <p:cNvPicPr>
            <a:picLocks noChangeAspect="1"/>
          </p:cNvPicPr>
          <p:nvPr/>
        </p:nvPicPr>
        <p:blipFill>
          <a:blip r:embed="rId3"/>
          <a:stretch>
            <a:fillRect/>
          </a:stretch>
        </p:blipFill>
        <p:spPr>
          <a:xfrm>
            <a:off x="9333504" y="464629"/>
            <a:ext cx="1719900" cy="2133120"/>
          </a:xfrm>
          <a:prstGeom prst="rect">
            <a:avLst/>
          </a:prstGeom>
        </p:spPr>
      </p:pic>
    </p:spTree>
    <p:extLst>
      <p:ext uri="{BB962C8B-B14F-4D97-AF65-F5344CB8AC3E}">
        <p14:creationId xmlns:p14="http://schemas.microsoft.com/office/powerpoint/2010/main" val="18821739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94" name="Rectangle 293">
            <a:extLst>
              <a:ext uri="{FF2B5EF4-FFF2-40B4-BE49-F238E27FC236}">
                <a16:creationId xmlns:a16="http://schemas.microsoft.com/office/drawing/2014/main" id="{D80894F9-B593-417A-8B1F-5D9E0C8523CE}"/>
              </a:ext>
            </a:extLst>
          </p:cNvPr>
          <p:cNvSpPr/>
          <p:nvPr/>
        </p:nvSpPr>
        <p:spPr bwMode="auto">
          <a:xfrm>
            <a:off x="3885644" y="1868592"/>
            <a:ext cx="3504206" cy="4570703"/>
          </a:xfrm>
          <a:prstGeom prst="rect">
            <a:avLst/>
          </a:prstGeom>
          <a:solidFill>
            <a:srgbClr val="0078D7"/>
          </a:solidFill>
          <a:ln w="9525" cap="flat" cmpd="sng" algn="ctr">
            <a:noFill/>
            <a:prstDash val="solid"/>
            <a:headEnd type="none" w="med" len="med"/>
            <a:tailEnd type="none" w="med" len="med"/>
          </a:ln>
          <a:effectLst/>
        </p:spPr>
        <p:txBody>
          <a:bodyPr lIns="91414" tIns="91414" rIns="34284" bIns="34284" rtlCol="0" anchor="t"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Event Hub</a:t>
            </a:r>
            <a:endParaRPr kumimoji="0" lang="en-US" sz="3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294">
            <a:extLst>
              <a:ext uri="{FF2B5EF4-FFF2-40B4-BE49-F238E27FC236}">
                <a16:creationId xmlns:a16="http://schemas.microsoft.com/office/drawing/2014/main" id="{BFF87B06-AA7D-4145-B8BA-2F4BED773512}"/>
              </a:ext>
            </a:extLst>
          </p:cNvPr>
          <p:cNvSpPr/>
          <p:nvPr/>
        </p:nvSpPr>
        <p:spPr bwMode="auto">
          <a:xfrm>
            <a:off x="4342713" y="2735150"/>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1</a:t>
            </a:r>
          </a:p>
        </p:txBody>
      </p:sp>
      <p:grpSp>
        <p:nvGrpSpPr>
          <p:cNvPr id="296" name="Group 295">
            <a:extLst>
              <a:ext uri="{FF2B5EF4-FFF2-40B4-BE49-F238E27FC236}">
                <a16:creationId xmlns:a16="http://schemas.microsoft.com/office/drawing/2014/main" id="{5D7D929E-4C14-4FC9-8FE0-F2AED088FD64}"/>
              </a:ext>
            </a:extLst>
          </p:cNvPr>
          <p:cNvGrpSpPr/>
          <p:nvPr/>
        </p:nvGrpSpPr>
        <p:grpSpPr>
          <a:xfrm>
            <a:off x="686152" y="3266394"/>
            <a:ext cx="1546223" cy="1523654"/>
            <a:chOff x="427037" y="1439862"/>
            <a:chExt cx="1765029" cy="1656444"/>
          </a:xfrm>
          <a:solidFill>
            <a:srgbClr val="FCD116"/>
          </a:solidFill>
        </p:grpSpPr>
        <p:grpSp>
          <p:nvGrpSpPr>
            <p:cNvPr id="329" name="Group 328">
              <a:extLst>
                <a:ext uri="{FF2B5EF4-FFF2-40B4-BE49-F238E27FC236}">
                  <a16:creationId xmlns:a16="http://schemas.microsoft.com/office/drawing/2014/main" id="{69A22844-39DD-4017-AE27-38420B11EFFB}"/>
                </a:ext>
              </a:extLst>
            </p:cNvPr>
            <p:cNvGrpSpPr/>
            <p:nvPr/>
          </p:nvGrpSpPr>
          <p:grpSpPr>
            <a:xfrm>
              <a:off x="427037" y="1439862"/>
              <a:ext cx="1764948" cy="152400"/>
              <a:chOff x="427037" y="1439862"/>
              <a:chExt cx="1764948" cy="152400"/>
            </a:xfrm>
            <a:grpFill/>
          </p:grpSpPr>
          <p:sp>
            <p:nvSpPr>
              <p:cNvPr id="429" name="Rectangle 428">
                <a:extLst>
                  <a:ext uri="{FF2B5EF4-FFF2-40B4-BE49-F238E27FC236}">
                    <a16:creationId xmlns:a16="http://schemas.microsoft.com/office/drawing/2014/main" id="{B8D8B51C-51CF-4EDF-9455-B3BB12EAE4A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AA901A72-4F85-49C1-B00C-3D8112A04686}"/>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Rectangle 430">
                <a:extLst>
                  <a:ext uri="{FF2B5EF4-FFF2-40B4-BE49-F238E27FC236}">
                    <a16:creationId xmlns:a16="http://schemas.microsoft.com/office/drawing/2014/main" id="{1FFDBC70-FE25-4AFD-BF6C-90F011769C6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2" name="Rectangle 431">
                <a:extLst>
                  <a:ext uri="{FF2B5EF4-FFF2-40B4-BE49-F238E27FC236}">
                    <a16:creationId xmlns:a16="http://schemas.microsoft.com/office/drawing/2014/main" id="{787914E2-4F0F-4EB6-A746-4330F5AA781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Rectangle 432">
                <a:extLst>
                  <a:ext uri="{FF2B5EF4-FFF2-40B4-BE49-F238E27FC236}">
                    <a16:creationId xmlns:a16="http://schemas.microsoft.com/office/drawing/2014/main" id="{735F41E0-BACA-4F80-B3CD-EEED2A3C322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B292D934-5929-49B9-9C87-CE23D5B5271C}"/>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3CFDF5E7-8659-4AFE-91FC-C0445E7F3AF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6" name="Rectangle 435">
                <a:extLst>
                  <a:ext uri="{FF2B5EF4-FFF2-40B4-BE49-F238E27FC236}">
                    <a16:creationId xmlns:a16="http://schemas.microsoft.com/office/drawing/2014/main" id="{6C46CCD6-6B16-45F5-A028-6275CEEB26F3}"/>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7" name="Rectangle 436">
                <a:extLst>
                  <a:ext uri="{FF2B5EF4-FFF2-40B4-BE49-F238E27FC236}">
                    <a16:creationId xmlns:a16="http://schemas.microsoft.com/office/drawing/2014/main" id="{A2717416-49F3-4A86-AEDB-22C77148AC75}"/>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8" name="Rectangle 437">
                <a:extLst>
                  <a:ext uri="{FF2B5EF4-FFF2-40B4-BE49-F238E27FC236}">
                    <a16:creationId xmlns:a16="http://schemas.microsoft.com/office/drawing/2014/main" id="{3EEF762D-3FF1-4C3C-97BD-04C80A47D76B}"/>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0" name="Group 329">
              <a:extLst>
                <a:ext uri="{FF2B5EF4-FFF2-40B4-BE49-F238E27FC236}">
                  <a16:creationId xmlns:a16="http://schemas.microsoft.com/office/drawing/2014/main" id="{2B8BF1C6-24F3-4A2A-8700-24DA42A7E052}"/>
                </a:ext>
              </a:extLst>
            </p:cNvPr>
            <p:cNvGrpSpPr/>
            <p:nvPr/>
          </p:nvGrpSpPr>
          <p:grpSpPr>
            <a:xfrm>
              <a:off x="427046" y="1606978"/>
              <a:ext cx="1764948" cy="152400"/>
              <a:chOff x="427037" y="1439862"/>
              <a:chExt cx="1764948" cy="152400"/>
            </a:xfrm>
            <a:grpFill/>
          </p:grpSpPr>
          <p:sp>
            <p:nvSpPr>
              <p:cNvPr id="419" name="Rectangle 418">
                <a:extLst>
                  <a:ext uri="{FF2B5EF4-FFF2-40B4-BE49-F238E27FC236}">
                    <a16:creationId xmlns:a16="http://schemas.microsoft.com/office/drawing/2014/main" id="{CACC8CC7-0691-4A84-A94B-4A0C1A3F769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2AE4350D-FE83-4F15-8612-BDC9198447EC}"/>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1" name="Rectangle 420">
                <a:extLst>
                  <a:ext uri="{FF2B5EF4-FFF2-40B4-BE49-F238E27FC236}">
                    <a16:creationId xmlns:a16="http://schemas.microsoft.com/office/drawing/2014/main" id="{41D364B6-C0F3-4B42-BD26-9A2004086EBC}"/>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2" name="Rectangle 421">
                <a:extLst>
                  <a:ext uri="{FF2B5EF4-FFF2-40B4-BE49-F238E27FC236}">
                    <a16:creationId xmlns:a16="http://schemas.microsoft.com/office/drawing/2014/main" id="{129E1D91-0BB8-4C6D-818C-A8A039706E0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3" name="Rectangle 422">
                <a:extLst>
                  <a:ext uri="{FF2B5EF4-FFF2-40B4-BE49-F238E27FC236}">
                    <a16:creationId xmlns:a16="http://schemas.microsoft.com/office/drawing/2014/main" id="{D9663608-E18B-49E1-B892-57F6B4060FE3}"/>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B949E82A-F99B-4D35-B811-97E68CDC7FA8}"/>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64449984-4B18-43F7-8659-5FD193685AA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6" name="Rectangle 425">
                <a:extLst>
                  <a:ext uri="{FF2B5EF4-FFF2-40B4-BE49-F238E27FC236}">
                    <a16:creationId xmlns:a16="http://schemas.microsoft.com/office/drawing/2014/main" id="{6822757F-107C-40CB-ABA2-F81B889180AF}"/>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7" name="Rectangle 426">
                <a:extLst>
                  <a:ext uri="{FF2B5EF4-FFF2-40B4-BE49-F238E27FC236}">
                    <a16:creationId xmlns:a16="http://schemas.microsoft.com/office/drawing/2014/main" id="{E3A80028-97FD-493F-ADC2-D5585CD6A6F9}"/>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8" name="Rectangle 427">
                <a:extLst>
                  <a:ext uri="{FF2B5EF4-FFF2-40B4-BE49-F238E27FC236}">
                    <a16:creationId xmlns:a16="http://schemas.microsoft.com/office/drawing/2014/main" id="{221A907F-0498-4ED4-A0AA-642B93870798}"/>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1" name="Group 330">
              <a:extLst>
                <a:ext uri="{FF2B5EF4-FFF2-40B4-BE49-F238E27FC236}">
                  <a16:creationId xmlns:a16="http://schemas.microsoft.com/office/drawing/2014/main" id="{7272693D-6641-4FAB-9BB1-7082A0F7DD69}"/>
                </a:ext>
              </a:extLst>
            </p:cNvPr>
            <p:cNvGrpSpPr/>
            <p:nvPr/>
          </p:nvGrpSpPr>
          <p:grpSpPr>
            <a:xfrm>
              <a:off x="427055" y="1774094"/>
              <a:ext cx="1764948" cy="152400"/>
              <a:chOff x="427037" y="1439862"/>
              <a:chExt cx="1764948" cy="152400"/>
            </a:xfrm>
            <a:grpFill/>
          </p:grpSpPr>
          <p:sp>
            <p:nvSpPr>
              <p:cNvPr id="409" name="Rectangle 408">
                <a:extLst>
                  <a:ext uri="{FF2B5EF4-FFF2-40B4-BE49-F238E27FC236}">
                    <a16:creationId xmlns:a16="http://schemas.microsoft.com/office/drawing/2014/main" id="{0FE3846C-8A80-4C9C-BCC4-F5859A3A92E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5F485887-D80B-4D7B-9C8B-2412DF4EA38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1" name="Rectangle 410">
                <a:extLst>
                  <a:ext uri="{FF2B5EF4-FFF2-40B4-BE49-F238E27FC236}">
                    <a16:creationId xmlns:a16="http://schemas.microsoft.com/office/drawing/2014/main" id="{92139C56-A95E-41C6-835B-BC5875F3D9D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2" name="Rectangle 411">
                <a:extLst>
                  <a:ext uri="{FF2B5EF4-FFF2-40B4-BE49-F238E27FC236}">
                    <a16:creationId xmlns:a16="http://schemas.microsoft.com/office/drawing/2014/main" id="{973A0642-F7D7-4666-92FB-8160B1813496}"/>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3" name="Rectangle 412">
                <a:extLst>
                  <a:ext uri="{FF2B5EF4-FFF2-40B4-BE49-F238E27FC236}">
                    <a16:creationId xmlns:a16="http://schemas.microsoft.com/office/drawing/2014/main" id="{79DB857A-0B08-44D8-870D-D6D4F4E2D0F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4" name="Rectangle 413">
                <a:extLst>
                  <a:ext uri="{FF2B5EF4-FFF2-40B4-BE49-F238E27FC236}">
                    <a16:creationId xmlns:a16="http://schemas.microsoft.com/office/drawing/2014/main" id="{6251B21C-D53A-46E2-BE9B-105BE0F6953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85F7BD91-CE36-48F0-8312-3B23E6CE4259}"/>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Rectangle 415">
                <a:extLst>
                  <a:ext uri="{FF2B5EF4-FFF2-40B4-BE49-F238E27FC236}">
                    <a16:creationId xmlns:a16="http://schemas.microsoft.com/office/drawing/2014/main" id="{E7420F2C-256F-424B-8A8E-EB978189A71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7" name="Rectangle 416">
                <a:extLst>
                  <a:ext uri="{FF2B5EF4-FFF2-40B4-BE49-F238E27FC236}">
                    <a16:creationId xmlns:a16="http://schemas.microsoft.com/office/drawing/2014/main" id="{C602D18D-4A7B-4A67-90DF-E8023ACF7F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Rectangle 417">
                <a:extLst>
                  <a:ext uri="{FF2B5EF4-FFF2-40B4-BE49-F238E27FC236}">
                    <a16:creationId xmlns:a16="http://schemas.microsoft.com/office/drawing/2014/main" id="{DB8888EC-CA1C-4123-AEC7-BB939222F286}"/>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2" name="Group 331">
              <a:extLst>
                <a:ext uri="{FF2B5EF4-FFF2-40B4-BE49-F238E27FC236}">
                  <a16:creationId xmlns:a16="http://schemas.microsoft.com/office/drawing/2014/main" id="{BD117F13-28B9-474B-8E49-A61720C849FC}"/>
                </a:ext>
              </a:extLst>
            </p:cNvPr>
            <p:cNvGrpSpPr/>
            <p:nvPr/>
          </p:nvGrpSpPr>
          <p:grpSpPr>
            <a:xfrm>
              <a:off x="427064" y="1941210"/>
              <a:ext cx="1764948" cy="152400"/>
              <a:chOff x="427037" y="1439862"/>
              <a:chExt cx="1764948" cy="152400"/>
            </a:xfrm>
            <a:grpFill/>
          </p:grpSpPr>
          <p:sp>
            <p:nvSpPr>
              <p:cNvPr id="399" name="Rectangle 398">
                <a:extLst>
                  <a:ext uri="{FF2B5EF4-FFF2-40B4-BE49-F238E27FC236}">
                    <a16:creationId xmlns:a16="http://schemas.microsoft.com/office/drawing/2014/main" id="{51D4A8E5-D801-48F3-9D85-42C1EEF2143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B77A537F-AA18-4A45-86C4-D5E83F8CEA2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1" name="Rectangle 400">
                <a:extLst>
                  <a:ext uri="{FF2B5EF4-FFF2-40B4-BE49-F238E27FC236}">
                    <a16:creationId xmlns:a16="http://schemas.microsoft.com/office/drawing/2014/main" id="{0E89135F-16B4-41FD-A440-676EB967E73B}"/>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2" name="Rectangle 401">
                <a:extLst>
                  <a:ext uri="{FF2B5EF4-FFF2-40B4-BE49-F238E27FC236}">
                    <a16:creationId xmlns:a16="http://schemas.microsoft.com/office/drawing/2014/main" id="{94D06313-E34E-400E-BD75-893385CD5722}"/>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3" name="Rectangle 402">
                <a:extLst>
                  <a:ext uri="{FF2B5EF4-FFF2-40B4-BE49-F238E27FC236}">
                    <a16:creationId xmlns:a16="http://schemas.microsoft.com/office/drawing/2014/main" id="{6BF7B13E-1445-4984-978E-6BFBFF6E49DF}"/>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4" name="Rectangle 403">
                <a:extLst>
                  <a:ext uri="{FF2B5EF4-FFF2-40B4-BE49-F238E27FC236}">
                    <a16:creationId xmlns:a16="http://schemas.microsoft.com/office/drawing/2014/main" id="{07D18392-9A40-4C8D-83D1-164B24BF0CE5}"/>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128BB8E7-FA27-4D80-BF36-F670A1CF509F}"/>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6" name="Rectangle 405">
                <a:extLst>
                  <a:ext uri="{FF2B5EF4-FFF2-40B4-BE49-F238E27FC236}">
                    <a16:creationId xmlns:a16="http://schemas.microsoft.com/office/drawing/2014/main" id="{515AF965-CF1C-441E-A8A1-93EC65D1213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Rectangle 406">
                <a:extLst>
                  <a:ext uri="{FF2B5EF4-FFF2-40B4-BE49-F238E27FC236}">
                    <a16:creationId xmlns:a16="http://schemas.microsoft.com/office/drawing/2014/main" id="{97F915B5-FE28-4522-9436-B83CE04B0BBC}"/>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Rectangle 407">
                <a:extLst>
                  <a:ext uri="{FF2B5EF4-FFF2-40B4-BE49-F238E27FC236}">
                    <a16:creationId xmlns:a16="http://schemas.microsoft.com/office/drawing/2014/main" id="{F45B73FD-6BFA-48D3-85AC-4DAC612C48B1}"/>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3" name="Group 332">
              <a:extLst>
                <a:ext uri="{FF2B5EF4-FFF2-40B4-BE49-F238E27FC236}">
                  <a16:creationId xmlns:a16="http://schemas.microsoft.com/office/drawing/2014/main" id="{1C9EC414-337C-4565-BC3D-A6D3F7755B4F}"/>
                </a:ext>
              </a:extLst>
            </p:cNvPr>
            <p:cNvGrpSpPr/>
            <p:nvPr/>
          </p:nvGrpSpPr>
          <p:grpSpPr>
            <a:xfrm>
              <a:off x="427073" y="2108326"/>
              <a:ext cx="1764948" cy="152400"/>
              <a:chOff x="427037" y="1439862"/>
              <a:chExt cx="1764948" cy="152400"/>
            </a:xfrm>
            <a:grpFill/>
          </p:grpSpPr>
          <p:sp>
            <p:nvSpPr>
              <p:cNvPr id="389" name="Rectangle 388">
                <a:extLst>
                  <a:ext uri="{FF2B5EF4-FFF2-40B4-BE49-F238E27FC236}">
                    <a16:creationId xmlns:a16="http://schemas.microsoft.com/office/drawing/2014/main" id="{CD3BBE79-8C4B-4BD7-B50D-90038940E217}"/>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E0BB5729-9EA6-4C9A-9481-243C62F0A933}"/>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1" name="Rectangle 390">
                <a:extLst>
                  <a:ext uri="{FF2B5EF4-FFF2-40B4-BE49-F238E27FC236}">
                    <a16:creationId xmlns:a16="http://schemas.microsoft.com/office/drawing/2014/main" id="{3DB11FFA-64F4-4788-A845-A0A830BDA6DF}"/>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2" name="Rectangle 391">
                <a:extLst>
                  <a:ext uri="{FF2B5EF4-FFF2-40B4-BE49-F238E27FC236}">
                    <a16:creationId xmlns:a16="http://schemas.microsoft.com/office/drawing/2014/main" id="{CF5A560D-3BC1-4805-94AE-C8D1AC33729B}"/>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3" name="Rectangle 392">
                <a:extLst>
                  <a:ext uri="{FF2B5EF4-FFF2-40B4-BE49-F238E27FC236}">
                    <a16:creationId xmlns:a16="http://schemas.microsoft.com/office/drawing/2014/main" id="{3BCDD70B-D1A6-48E1-9E2F-E462A9A8E41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Rectangle 393">
                <a:extLst>
                  <a:ext uri="{FF2B5EF4-FFF2-40B4-BE49-F238E27FC236}">
                    <a16:creationId xmlns:a16="http://schemas.microsoft.com/office/drawing/2014/main" id="{4FBF1DB7-6FD5-4879-9E6A-3FC4A70EBE5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D9BC2D79-96A9-459E-B34D-6D391FC22266}"/>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extLst>
                  <a:ext uri="{FF2B5EF4-FFF2-40B4-BE49-F238E27FC236}">
                    <a16:creationId xmlns:a16="http://schemas.microsoft.com/office/drawing/2014/main" id="{9548694C-5890-499A-B8FF-F795A8B1BB1E}"/>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Rectangle 396">
                <a:extLst>
                  <a:ext uri="{FF2B5EF4-FFF2-40B4-BE49-F238E27FC236}">
                    <a16:creationId xmlns:a16="http://schemas.microsoft.com/office/drawing/2014/main" id="{865FC2AC-6652-4D0C-A324-276CF334EB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Rectangle 397">
                <a:extLst>
                  <a:ext uri="{FF2B5EF4-FFF2-40B4-BE49-F238E27FC236}">
                    <a16:creationId xmlns:a16="http://schemas.microsoft.com/office/drawing/2014/main" id="{BBC3C020-E114-4ECE-A286-C5DA9141E58F}"/>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4" name="Group 333">
              <a:extLst>
                <a:ext uri="{FF2B5EF4-FFF2-40B4-BE49-F238E27FC236}">
                  <a16:creationId xmlns:a16="http://schemas.microsoft.com/office/drawing/2014/main" id="{6054E6C2-1133-4B08-98E7-04B5B8048A28}"/>
                </a:ext>
              </a:extLst>
            </p:cNvPr>
            <p:cNvGrpSpPr/>
            <p:nvPr/>
          </p:nvGrpSpPr>
          <p:grpSpPr>
            <a:xfrm>
              <a:off x="427082" y="2275442"/>
              <a:ext cx="1764948" cy="152400"/>
              <a:chOff x="427037" y="1439862"/>
              <a:chExt cx="1764948" cy="152400"/>
            </a:xfrm>
            <a:grpFill/>
          </p:grpSpPr>
          <p:sp>
            <p:nvSpPr>
              <p:cNvPr id="379" name="Rectangle 378">
                <a:extLst>
                  <a:ext uri="{FF2B5EF4-FFF2-40B4-BE49-F238E27FC236}">
                    <a16:creationId xmlns:a16="http://schemas.microsoft.com/office/drawing/2014/main" id="{E1DB8B97-C79E-41E9-82A2-F632A9D8CBB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633EB799-E95A-4A34-B3D6-05BD04771E3D}"/>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1" name="Rectangle 380">
                <a:extLst>
                  <a:ext uri="{FF2B5EF4-FFF2-40B4-BE49-F238E27FC236}">
                    <a16:creationId xmlns:a16="http://schemas.microsoft.com/office/drawing/2014/main" id="{F7D9885D-EA5D-4B2B-A2C2-0981876B431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2" name="Rectangle 381">
                <a:extLst>
                  <a:ext uri="{FF2B5EF4-FFF2-40B4-BE49-F238E27FC236}">
                    <a16:creationId xmlns:a16="http://schemas.microsoft.com/office/drawing/2014/main" id="{3FD886F4-C1DB-4481-905E-F21CA03BDB4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3" name="Rectangle 382">
                <a:extLst>
                  <a:ext uri="{FF2B5EF4-FFF2-40B4-BE49-F238E27FC236}">
                    <a16:creationId xmlns:a16="http://schemas.microsoft.com/office/drawing/2014/main" id="{7FC7B7D9-9850-47E6-BCC1-566A50B5B920}"/>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C57975A1-F790-46CC-9AC4-5ABF6CE9E58A}"/>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3E7B239B-2F0B-4EC2-8D87-458F60BCB7A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0BE20C63-579F-401A-BC6A-10205592A19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F5BC6E9E-49BA-4A02-88A0-610605D740AF}"/>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8" name="Rectangle 387">
                <a:extLst>
                  <a:ext uri="{FF2B5EF4-FFF2-40B4-BE49-F238E27FC236}">
                    <a16:creationId xmlns:a16="http://schemas.microsoft.com/office/drawing/2014/main" id="{EB273A76-496A-43A1-B9E6-95DFFD939E95}"/>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5" name="Group 334">
              <a:extLst>
                <a:ext uri="{FF2B5EF4-FFF2-40B4-BE49-F238E27FC236}">
                  <a16:creationId xmlns:a16="http://schemas.microsoft.com/office/drawing/2014/main" id="{00CC6EF4-3470-4318-A092-76B47CEAEA70}"/>
                </a:ext>
              </a:extLst>
            </p:cNvPr>
            <p:cNvGrpSpPr/>
            <p:nvPr/>
          </p:nvGrpSpPr>
          <p:grpSpPr>
            <a:xfrm>
              <a:off x="427091" y="2442558"/>
              <a:ext cx="1764948" cy="152400"/>
              <a:chOff x="427037" y="1439862"/>
              <a:chExt cx="1764948" cy="152400"/>
            </a:xfrm>
            <a:grpFill/>
          </p:grpSpPr>
          <p:sp>
            <p:nvSpPr>
              <p:cNvPr id="369" name="Rectangle 368">
                <a:extLst>
                  <a:ext uri="{FF2B5EF4-FFF2-40B4-BE49-F238E27FC236}">
                    <a16:creationId xmlns:a16="http://schemas.microsoft.com/office/drawing/2014/main" id="{EFEC0C73-57DF-4519-AA43-436DE744D6B4}"/>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38FFECF5-3C6D-41A4-A5CA-3EA157794822}"/>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1" name="Rectangle 370">
                <a:extLst>
                  <a:ext uri="{FF2B5EF4-FFF2-40B4-BE49-F238E27FC236}">
                    <a16:creationId xmlns:a16="http://schemas.microsoft.com/office/drawing/2014/main" id="{6D21ACD9-18EE-4D4C-A815-919EF8D6270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371">
                <a:extLst>
                  <a:ext uri="{FF2B5EF4-FFF2-40B4-BE49-F238E27FC236}">
                    <a16:creationId xmlns:a16="http://schemas.microsoft.com/office/drawing/2014/main" id="{386FC24F-9C05-479A-A32E-28A0DE3D756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Rectangle 372">
                <a:extLst>
                  <a:ext uri="{FF2B5EF4-FFF2-40B4-BE49-F238E27FC236}">
                    <a16:creationId xmlns:a16="http://schemas.microsoft.com/office/drawing/2014/main" id="{57B89043-A248-4F2D-9E88-CD609C971E9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55248919-8AFD-47A9-AA4D-6233C28734D0}"/>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F5F4353F-BBC8-4309-A409-4AC9524FBD7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Rectangle 375">
                <a:extLst>
                  <a:ext uri="{FF2B5EF4-FFF2-40B4-BE49-F238E27FC236}">
                    <a16:creationId xmlns:a16="http://schemas.microsoft.com/office/drawing/2014/main" id="{7F0CD986-8A3E-4DC5-8B49-7E5E2A9DE0B9}"/>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7" name="Rectangle 376">
                <a:extLst>
                  <a:ext uri="{FF2B5EF4-FFF2-40B4-BE49-F238E27FC236}">
                    <a16:creationId xmlns:a16="http://schemas.microsoft.com/office/drawing/2014/main" id="{2DE7D14F-A37C-40AD-A22B-2DF7553E243A}"/>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8" name="Rectangle 377">
                <a:extLst>
                  <a:ext uri="{FF2B5EF4-FFF2-40B4-BE49-F238E27FC236}">
                    <a16:creationId xmlns:a16="http://schemas.microsoft.com/office/drawing/2014/main" id="{9029431E-E860-4B9B-896B-BCCE769B2B6E}"/>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6" name="Group 335">
              <a:extLst>
                <a:ext uri="{FF2B5EF4-FFF2-40B4-BE49-F238E27FC236}">
                  <a16:creationId xmlns:a16="http://schemas.microsoft.com/office/drawing/2014/main" id="{5AF375A4-E19B-4BC5-9BE8-7FA0F0308125}"/>
                </a:ext>
              </a:extLst>
            </p:cNvPr>
            <p:cNvGrpSpPr/>
            <p:nvPr/>
          </p:nvGrpSpPr>
          <p:grpSpPr>
            <a:xfrm>
              <a:off x="427100" y="2609674"/>
              <a:ext cx="1764948" cy="152400"/>
              <a:chOff x="427037" y="1439862"/>
              <a:chExt cx="1764948" cy="152400"/>
            </a:xfrm>
            <a:grpFill/>
          </p:grpSpPr>
          <p:sp>
            <p:nvSpPr>
              <p:cNvPr id="359" name="Rectangle 358">
                <a:extLst>
                  <a:ext uri="{FF2B5EF4-FFF2-40B4-BE49-F238E27FC236}">
                    <a16:creationId xmlns:a16="http://schemas.microsoft.com/office/drawing/2014/main" id="{8C5B4D35-C5C5-4E35-8493-31AE9807590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0" name="Rectangle 359">
                <a:extLst>
                  <a:ext uri="{FF2B5EF4-FFF2-40B4-BE49-F238E27FC236}">
                    <a16:creationId xmlns:a16="http://schemas.microsoft.com/office/drawing/2014/main" id="{3983856F-0084-42F3-AC95-0FAFF9DB914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1" name="Rectangle 360">
                <a:extLst>
                  <a:ext uri="{FF2B5EF4-FFF2-40B4-BE49-F238E27FC236}">
                    <a16:creationId xmlns:a16="http://schemas.microsoft.com/office/drawing/2014/main" id="{00A27264-3545-45C4-8A39-A4155C7C73A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2" name="Rectangle 361">
                <a:extLst>
                  <a:ext uri="{FF2B5EF4-FFF2-40B4-BE49-F238E27FC236}">
                    <a16:creationId xmlns:a16="http://schemas.microsoft.com/office/drawing/2014/main" id="{CF3ED2AF-9DA3-431E-AF05-4AA890831261}"/>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3" name="Rectangle 362">
                <a:extLst>
                  <a:ext uri="{FF2B5EF4-FFF2-40B4-BE49-F238E27FC236}">
                    <a16:creationId xmlns:a16="http://schemas.microsoft.com/office/drawing/2014/main" id="{9F0AB92E-212B-4686-A8DC-438FB29734EC}"/>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4" name="Rectangle 363">
                <a:extLst>
                  <a:ext uri="{FF2B5EF4-FFF2-40B4-BE49-F238E27FC236}">
                    <a16:creationId xmlns:a16="http://schemas.microsoft.com/office/drawing/2014/main" id="{FB17D23F-6A42-4439-BE5C-DA786C6F0E3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Rectangle 364">
                <a:extLst>
                  <a:ext uri="{FF2B5EF4-FFF2-40B4-BE49-F238E27FC236}">
                    <a16:creationId xmlns:a16="http://schemas.microsoft.com/office/drawing/2014/main" id="{F31ED029-4EA7-446A-A107-1905C2849D0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Rectangle 365">
                <a:extLst>
                  <a:ext uri="{FF2B5EF4-FFF2-40B4-BE49-F238E27FC236}">
                    <a16:creationId xmlns:a16="http://schemas.microsoft.com/office/drawing/2014/main" id="{E0820DC0-DDE0-4B5F-888B-1E441EFE5D9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Rectangle 366">
                <a:extLst>
                  <a:ext uri="{FF2B5EF4-FFF2-40B4-BE49-F238E27FC236}">
                    <a16:creationId xmlns:a16="http://schemas.microsoft.com/office/drawing/2014/main" id="{4D65BB96-3DA5-4FA0-9121-3874364B2B1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Rectangle 367">
                <a:extLst>
                  <a:ext uri="{FF2B5EF4-FFF2-40B4-BE49-F238E27FC236}">
                    <a16:creationId xmlns:a16="http://schemas.microsoft.com/office/drawing/2014/main" id="{4C930A8D-0313-4167-B03F-C77DEF23942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7" name="Group 336">
              <a:extLst>
                <a:ext uri="{FF2B5EF4-FFF2-40B4-BE49-F238E27FC236}">
                  <a16:creationId xmlns:a16="http://schemas.microsoft.com/office/drawing/2014/main" id="{4E044037-B78F-40FF-8445-8313F5A5C41B}"/>
                </a:ext>
              </a:extLst>
            </p:cNvPr>
            <p:cNvGrpSpPr/>
            <p:nvPr/>
          </p:nvGrpSpPr>
          <p:grpSpPr>
            <a:xfrm>
              <a:off x="427109" y="2776790"/>
              <a:ext cx="1764948" cy="152400"/>
              <a:chOff x="427037" y="1439862"/>
              <a:chExt cx="1764948" cy="152400"/>
            </a:xfrm>
            <a:grpFill/>
          </p:grpSpPr>
          <p:sp>
            <p:nvSpPr>
              <p:cNvPr id="349" name="Rectangle 348">
                <a:extLst>
                  <a:ext uri="{FF2B5EF4-FFF2-40B4-BE49-F238E27FC236}">
                    <a16:creationId xmlns:a16="http://schemas.microsoft.com/office/drawing/2014/main" id="{959661E5-EC46-4D19-BA82-D93E8FDB508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0" name="Rectangle 349">
                <a:extLst>
                  <a:ext uri="{FF2B5EF4-FFF2-40B4-BE49-F238E27FC236}">
                    <a16:creationId xmlns:a16="http://schemas.microsoft.com/office/drawing/2014/main" id="{0990BAB1-36D7-4E31-BAF9-B3B3F6B7F5F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1" name="Rectangle 350">
                <a:extLst>
                  <a:ext uri="{FF2B5EF4-FFF2-40B4-BE49-F238E27FC236}">
                    <a16:creationId xmlns:a16="http://schemas.microsoft.com/office/drawing/2014/main" id="{E8CDE513-DADC-4591-9CBE-F096316AF45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Rectangle 351">
                <a:extLst>
                  <a:ext uri="{FF2B5EF4-FFF2-40B4-BE49-F238E27FC236}">
                    <a16:creationId xmlns:a16="http://schemas.microsoft.com/office/drawing/2014/main" id="{A5D24F99-3928-440E-B4D0-BA35539C095F}"/>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Rectangle 352">
                <a:extLst>
                  <a:ext uri="{FF2B5EF4-FFF2-40B4-BE49-F238E27FC236}">
                    <a16:creationId xmlns:a16="http://schemas.microsoft.com/office/drawing/2014/main" id="{FE51FB1B-84F2-4649-91D4-5F3523C0FFC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Rectangle 353">
                <a:extLst>
                  <a:ext uri="{FF2B5EF4-FFF2-40B4-BE49-F238E27FC236}">
                    <a16:creationId xmlns:a16="http://schemas.microsoft.com/office/drawing/2014/main" id="{009423C4-42C1-4B8E-B84B-F6090EB7D91B}"/>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5" name="Rectangle 354">
                <a:extLst>
                  <a:ext uri="{FF2B5EF4-FFF2-40B4-BE49-F238E27FC236}">
                    <a16:creationId xmlns:a16="http://schemas.microsoft.com/office/drawing/2014/main" id="{9B4274C7-F96F-4DE1-88CD-C54EFEA589D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Rectangle 355">
                <a:extLst>
                  <a:ext uri="{FF2B5EF4-FFF2-40B4-BE49-F238E27FC236}">
                    <a16:creationId xmlns:a16="http://schemas.microsoft.com/office/drawing/2014/main" id="{B5DA410A-38D7-4AC7-A59A-A49C67AD37F7}"/>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Rectangle 356">
                <a:extLst>
                  <a:ext uri="{FF2B5EF4-FFF2-40B4-BE49-F238E27FC236}">
                    <a16:creationId xmlns:a16="http://schemas.microsoft.com/office/drawing/2014/main" id="{75556287-4CCB-4139-B952-79F8D7E7ADB8}"/>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Rectangle 357">
                <a:extLst>
                  <a:ext uri="{FF2B5EF4-FFF2-40B4-BE49-F238E27FC236}">
                    <a16:creationId xmlns:a16="http://schemas.microsoft.com/office/drawing/2014/main" id="{A809E870-73AC-43F8-8550-13F327F3F1D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8" name="Group 337">
              <a:extLst>
                <a:ext uri="{FF2B5EF4-FFF2-40B4-BE49-F238E27FC236}">
                  <a16:creationId xmlns:a16="http://schemas.microsoft.com/office/drawing/2014/main" id="{B8595C30-CC6E-4A59-AF9D-9E1660A8A35A}"/>
                </a:ext>
              </a:extLst>
            </p:cNvPr>
            <p:cNvGrpSpPr/>
            <p:nvPr/>
          </p:nvGrpSpPr>
          <p:grpSpPr>
            <a:xfrm>
              <a:off x="427118" y="2943906"/>
              <a:ext cx="1764948" cy="152400"/>
              <a:chOff x="427037" y="1439862"/>
              <a:chExt cx="1764948" cy="152400"/>
            </a:xfrm>
            <a:grpFill/>
          </p:grpSpPr>
          <p:sp>
            <p:nvSpPr>
              <p:cNvPr id="339" name="Rectangle 338">
                <a:extLst>
                  <a:ext uri="{FF2B5EF4-FFF2-40B4-BE49-F238E27FC236}">
                    <a16:creationId xmlns:a16="http://schemas.microsoft.com/office/drawing/2014/main" id="{3357A92A-497D-4507-B334-2049EAB1375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ectangle 339">
                <a:extLst>
                  <a:ext uri="{FF2B5EF4-FFF2-40B4-BE49-F238E27FC236}">
                    <a16:creationId xmlns:a16="http://schemas.microsoft.com/office/drawing/2014/main" id="{3F919F86-9618-41D0-9887-268349C8B284}"/>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1" name="Rectangle 340">
                <a:extLst>
                  <a:ext uri="{FF2B5EF4-FFF2-40B4-BE49-F238E27FC236}">
                    <a16:creationId xmlns:a16="http://schemas.microsoft.com/office/drawing/2014/main" id="{045992E4-E3D5-4C61-A069-1F79D072844A}"/>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CF94239B-AEDE-41E9-ABD5-3D42A0FEECF5}"/>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Rectangle 342">
                <a:extLst>
                  <a:ext uri="{FF2B5EF4-FFF2-40B4-BE49-F238E27FC236}">
                    <a16:creationId xmlns:a16="http://schemas.microsoft.com/office/drawing/2014/main" id="{1454A46E-3F88-42EC-BEC8-8915EB193ED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7FA12790-8FC1-4645-B980-5859EFB5394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10D653CD-2F3F-48BA-9E98-EA4377D37054}"/>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Rectangle 345">
                <a:extLst>
                  <a:ext uri="{FF2B5EF4-FFF2-40B4-BE49-F238E27FC236}">
                    <a16:creationId xmlns:a16="http://schemas.microsoft.com/office/drawing/2014/main" id="{4657930C-BEC1-4594-9E22-83C701C54C0A}"/>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7" name="Rectangle 346">
                <a:extLst>
                  <a:ext uri="{FF2B5EF4-FFF2-40B4-BE49-F238E27FC236}">
                    <a16:creationId xmlns:a16="http://schemas.microsoft.com/office/drawing/2014/main" id="{D34E3456-B5A1-40B6-9DCF-3D56456413C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Rectangle 347">
                <a:extLst>
                  <a:ext uri="{FF2B5EF4-FFF2-40B4-BE49-F238E27FC236}">
                    <a16:creationId xmlns:a16="http://schemas.microsoft.com/office/drawing/2014/main" id="{5CAECB03-5EF3-4FA6-8A01-B892C44DF002}"/>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97" name="Rectangle 296">
            <a:extLst>
              <a:ext uri="{FF2B5EF4-FFF2-40B4-BE49-F238E27FC236}">
                <a16:creationId xmlns:a16="http://schemas.microsoft.com/office/drawing/2014/main" id="{11FEE322-2E04-47C7-A4B5-6D246437F5F2}"/>
              </a:ext>
            </a:extLst>
          </p:cNvPr>
          <p:cNvSpPr/>
          <p:nvPr/>
        </p:nvSpPr>
        <p:spPr bwMode="auto">
          <a:xfrm>
            <a:off x="4339719" y="362069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2</a:t>
            </a:r>
          </a:p>
        </p:txBody>
      </p:sp>
      <p:sp>
        <p:nvSpPr>
          <p:cNvPr id="298" name="Rectangle 297">
            <a:extLst>
              <a:ext uri="{FF2B5EF4-FFF2-40B4-BE49-F238E27FC236}">
                <a16:creationId xmlns:a16="http://schemas.microsoft.com/office/drawing/2014/main" id="{968878C8-37DB-4DC4-9BAB-2341240239D9}"/>
              </a:ext>
            </a:extLst>
          </p:cNvPr>
          <p:cNvSpPr/>
          <p:nvPr/>
        </p:nvSpPr>
        <p:spPr bwMode="auto">
          <a:xfrm>
            <a:off x="4339719" y="453483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3</a:t>
            </a:r>
          </a:p>
        </p:txBody>
      </p:sp>
      <p:sp>
        <p:nvSpPr>
          <p:cNvPr id="299" name="Rectangle 298">
            <a:extLst>
              <a:ext uri="{FF2B5EF4-FFF2-40B4-BE49-F238E27FC236}">
                <a16:creationId xmlns:a16="http://schemas.microsoft.com/office/drawing/2014/main" id="{83206026-200B-43E7-8635-52491ECDAD56}"/>
              </a:ext>
            </a:extLst>
          </p:cNvPr>
          <p:cNvSpPr/>
          <p:nvPr/>
        </p:nvSpPr>
        <p:spPr bwMode="auto">
          <a:xfrm>
            <a:off x="4339719" y="5442162"/>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4</a:t>
            </a:r>
          </a:p>
        </p:txBody>
      </p:sp>
      <p:sp>
        <p:nvSpPr>
          <p:cNvPr id="300" name="Right Arrow 133">
            <a:extLst>
              <a:ext uri="{FF2B5EF4-FFF2-40B4-BE49-F238E27FC236}">
                <a16:creationId xmlns:a16="http://schemas.microsoft.com/office/drawing/2014/main" id="{37B0EE01-6F7A-433E-9FFD-440B4EC0170B}"/>
              </a:ext>
            </a:extLst>
          </p:cNvPr>
          <p:cNvSpPr/>
          <p:nvPr/>
        </p:nvSpPr>
        <p:spPr bwMode="auto">
          <a:xfrm>
            <a:off x="2438254" y="3042590"/>
            <a:ext cx="1336537" cy="2005098"/>
          </a:xfrm>
          <a:prstGeom prst="rightArrow">
            <a:avLst>
              <a:gd name="adj1" fmla="val 75275"/>
              <a:gd name="adj2" fmla="val 50000"/>
            </a:avLst>
          </a:prstGeom>
          <a:noFill/>
          <a:ln w="38100" cap="flat" cmpd="sng" algn="ctr">
            <a:solidFill>
              <a:srgbClr val="FFC000"/>
            </a:solidFill>
            <a:prstDash val="solid"/>
            <a:headEnd type="none" w="med" len="med"/>
            <a:tailEnd type="none" w="med" len="med"/>
          </a:ln>
          <a:effectLst/>
        </p:spPr>
        <p:txBody>
          <a:bodyPr rot="0" spcFirstLastPara="0" vert="horz" wrap="square" lIns="182802" tIns="146241" rIns="182802" bIns="14624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HTTPS</a:t>
            </a: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AMQP</a:t>
            </a:r>
          </a:p>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p:txBody>
      </p:sp>
      <p:sp>
        <p:nvSpPr>
          <p:cNvPr id="301" name="Rectangle 300">
            <a:extLst>
              <a:ext uri="{FF2B5EF4-FFF2-40B4-BE49-F238E27FC236}">
                <a16:creationId xmlns:a16="http://schemas.microsoft.com/office/drawing/2014/main" id="{F539F26E-0A06-4A8F-8074-2DF714F20F81}"/>
              </a:ext>
            </a:extLst>
          </p:cNvPr>
          <p:cNvSpPr/>
          <p:nvPr/>
        </p:nvSpPr>
        <p:spPr bwMode="auto">
          <a:xfrm>
            <a:off x="9595393" y="2496277"/>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2" name="Rectangle 301">
            <a:extLst>
              <a:ext uri="{FF2B5EF4-FFF2-40B4-BE49-F238E27FC236}">
                <a16:creationId xmlns:a16="http://schemas.microsoft.com/office/drawing/2014/main" id="{9817C658-8931-4CCE-A516-5F1B91E6AA77}"/>
              </a:ext>
            </a:extLst>
          </p:cNvPr>
          <p:cNvSpPr/>
          <p:nvPr/>
        </p:nvSpPr>
        <p:spPr bwMode="auto">
          <a:xfrm>
            <a:off x="9599022" y="2950851"/>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302">
            <a:extLst>
              <a:ext uri="{FF2B5EF4-FFF2-40B4-BE49-F238E27FC236}">
                <a16:creationId xmlns:a16="http://schemas.microsoft.com/office/drawing/2014/main" id="{AF327F79-5149-4DA2-ACB0-8B2712F44547}"/>
              </a:ext>
            </a:extLst>
          </p:cNvPr>
          <p:cNvSpPr/>
          <p:nvPr/>
        </p:nvSpPr>
        <p:spPr bwMode="auto">
          <a:xfrm>
            <a:off x="9595393" y="3405422"/>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303">
            <a:extLst>
              <a:ext uri="{FF2B5EF4-FFF2-40B4-BE49-F238E27FC236}">
                <a16:creationId xmlns:a16="http://schemas.microsoft.com/office/drawing/2014/main" id="{157CE6C6-38D1-4299-AE6C-E126BF2E9ECD}"/>
              </a:ext>
            </a:extLst>
          </p:cNvPr>
          <p:cNvSpPr/>
          <p:nvPr/>
        </p:nvSpPr>
        <p:spPr bwMode="auto">
          <a:xfrm>
            <a:off x="9595393" y="3864646"/>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TextBox 207">
            <a:extLst>
              <a:ext uri="{FF2B5EF4-FFF2-40B4-BE49-F238E27FC236}">
                <a16:creationId xmlns:a16="http://schemas.microsoft.com/office/drawing/2014/main" id="{0044AA67-5EF0-44BE-A0A3-1024A4B76219}"/>
              </a:ext>
            </a:extLst>
          </p:cNvPr>
          <p:cNvSpPr txBox="1"/>
          <p:nvPr/>
        </p:nvSpPr>
        <p:spPr>
          <a:xfrm>
            <a:off x="363967" y="4789051"/>
            <a:ext cx="2193444"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Producers</a:t>
            </a:r>
          </a:p>
        </p:txBody>
      </p:sp>
      <p:sp>
        <p:nvSpPr>
          <p:cNvPr id="306" name="TextBox 208">
            <a:extLst>
              <a:ext uri="{FF2B5EF4-FFF2-40B4-BE49-F238E27FC236}">
                <a16:creationId xmlns:a16="http://schemas.microsoft.com/office/drawing/2014/main" id="{24276052-29F3-42EF-B404-5CB30AD3FF9A}"/>
              </a:ext>
            </a:extLst>
          </p:cNvPr>
          <p:cNvSpPr txBox="1"/>
          <p:nvPr/>
        </p:nvSpPr>
        <p:spPr>
          <a:xfrm>
            <a:off x="8914216" y="4149714"/>
            <a:ext cx="2121310"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Receivers</a:t>
            </a:r>
          </a:p>
        </p:txBody>
      </p:sp>
      <p:cxnSp>
        <p:nvCxnSpPr>
          <p:cNvPr id="307" name="Straight Arrow Connector 704">
            <a:extLst>
              <a:ext uri="{FF2B5EF4-FFF2-40B4-BE49-F238E27FC236}">
                <a16:creationId xmlns:a16="http://schemas.microsoft.com/office/drawing/2014/main" id="{207415CD-7565-472D-8CA5-5B6914E35013}"/>
              </a:ext>
            </a:extLst>
          </p:cNvPr>
          <p:cNvCxnSpPr>
            <a:cxnSpLocks/>
            <a:stCxn id="301" idx="1"/>
            <a:endCxn id="295" idx="3"/>
          </p:cNvCxnSpPr>
          <p:nvPr/>
        </p:nvCxnSpPr>
        <p:spPr>
          <a:xfrm rot="10800000" flipV="1">
            <a:off x="6475708" y="2686723"/>
            <a:ext cx="3119685" cy="432724"/>
          </a:xfrm>
          <a:prstGeom prst="bentConnector3">
            <a:avLst>
              <a:gd name="adj1" fmla="val 84398"/>
            </a:avLst>
          </a:prstGeom>
          <a:noFill/>
          <a:ln w="28575" cap="flat" cmpd="sng" algn="ctr">
            <a:solidFill>
              <a:srgbClr val="00B294"/>
            </a:solidFill>
            <a:prstDash val="solid"/>
            <a:headEnd type="diamond" w="med" len="med"/>
            <a:tailEnd type="triangle" w="med" len="med"/>
          </a:ln>
          <a:effectLst/>
        </p:spPr>
      </p:cxnSp>
      <p:cxnSp>
        <p:nvCxnSpPr>
          <p:cNvPr id="308" name="Straight Arrow Connector 704">
            <a:extLst>
              <a:ext uri="{FF2B5EF4-FFF2-40B4-BE49-F238E27FC236}">
                <a16:creationId xmlns:a16="http://schemas.microsoft.com/office/drawing/2014/main" id="{8A6DEF2D-2AFF-4D72-927D-4F0CA355B71D}"/>
              </a:ext>
            </a:extLst>
          </p:cNvPr>
          <p:cNvCxnSpPr>
            <a:cxnSpLocks/>
            <a:stCxn id="302" idx="1"/>
            <a:endCxn id="297" idx="3"/>
          </p:cNvCxnSpPr>
          <p:nvPr/>
        </p:nvCxnSpPr>
        <p:spPr>
          <a:xfrm rot="10800000" flipV="1">
            <a:off x="6472713" y="3141297"/>
            <a:ext cx="3126310" cy="863697"/>
          </a:xfrm>
          <a:prstGeom prst="bentConnector3">
            <a:avLst>
              <a:gd name="adj1" fmla="val 84326"/>
            </a:avLst>
          </a:prstGeom>
          <a:noFill/>
          <a:ln w="28575" cap="flat" cmpd="sng" algn="ctr">
            <a:solidFill>
              <a:srgbClr val="00B294"/>
            </a:solidFill>
            <a:prstDash val="solid"/>
            <a:headEnd type="diamond" w="med" len="med"/>
            <a:tailEnd type="triangle" w="med" len="med"/>
          </a:ln>
          <a:effectLst/>
        </p:spPr>
      </p:cxnSp>
      <p:cxnSp>
        <p:nvCxnSpPr>
          <p:cNvPr id="309" name="Straight Connector 308">
            <a:extLst>
              <a:ext uri="{FF2B5EF4-FFF2-40B4-BE49-F238E27FC236}">
                <a16:creationId xmlns:a16="http://schemas.microsoft.com/office/drawing/2014/main" id="{D962D284-F265-43F0-B021-FCE25E21B097}"/>
              </a:ext>
            </a:extLst>
          </p:cNvPr>
          <p:cNvCxnSpPr/>
          <p:nvPr/>
        </p:nvCxnSpPr>
        <p:spPr>
          <a:xfrm>
            <a:off x="3809465" y="1873198"/>
            <a:ext cx="0" cy="4566096"/>
          </a:xfrm>
          <a:prstGeom prst="line">
            <a:avLst/>
          </a:prstGeom>
          <a:noFill/>
          <a:ln w="19050" cap="flat" cmpd="sng" algn="ctr">
            <a:solidFill>
              <a:srgbClr val="D2D2D2">
                <a:lumMod val="50000"/>
                <a:lumOff val="50000"/>
              </a:srgbClr>
            </a:solidFill>
            <a:prstDash val="solid"/>
            <a:headEnd type="none"/>
            <a:tailEnd type="none"/>
          </a:ln>
          <a:effectLst/>
        </p:spPr>
      </p:cxnSp>
      <p:sp>
        <p:nvSpPr>
          <p:cNvPr id="310" name="Arc 309">
            <a:extLst>
              <a:ext uri="{FF2B5EF4-FFF2-40B4-BE49-F238E27FC236}">
                <a16:creationId xmlns:a16="http://schemas.microsoft.com/office/drawing/2014/main" id="{DEDDA6A1-3BA6-46AF-8C24-09F2F13CE66F}"/>
              </a:ext>
            </a:extLst>
          </p:cNvPr>
          <p:cNvSpPr/>
          <p:nvPr/>
        </p:nvSpPr>
        <p:spPr>
          <a:xfrm flipH="1" flipV="1">
            <a:off x="1425910" y="1736811"/>
            <a:ext cx="3907124" cy="1055603"/>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sp>
        <p:nvSpPr>
          <p:cNvPr id="311" name="Arc 310">
            <a:extLst>
              <a:ext uri="{FF2B5EF4-FFF2-40B4-BE49-F238E27FC236}">
                <a16:creationId xmlns:a16="http://schemas.microsoft.com/office/drawing/2014/main" id="{18AC1745-8E8B-4665-AB6F-0F20CB2B50AF}"/>
              </a:ext>
            </a:extLst>
          </p:cNvPr>
          <p:cNvSpPr/>
          <p:nvPr/>
        </p:nvSpPr>
        <p:spPr>
          <a:xfrm flipH="1">
            <a:off x="1425910" y="5321494"/>
            <a:ext cx="3907124" cy="1193979"/>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312" name="Rectangle 311">
            <a:extLst>
              <a:ext uri="{FF2B5EF4-FFF2-40B4-BE49-F238E27FC236}">
                <a16:creationId xmlns:a16="http://schemas.microsoft.com/office/drawing/2014/main" id="{C57A70FA-D688-457E-B04D-55A1199667B2}"/>
              </a:ext>
            </a:extLst>
          </p:cNvPr>
          <p:cNvSpPr/>
          <p:nvPr/>
        </p:nvSpPr>
        <p:spPr bwMode="auto">
          <a:xfrm>
            <a:off x="4377172" y="2781698"/>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312">
            <a:extLst>
              <a:ext uri="{FF2B5EF4-FFF2-40B4-BE49-F238E27FC236}">
                <a16:creationId xmlns:a16="http://schemas.microsoft.com/office/drawing/2014/main" id="{F64EECBA-FB6E-49CB-B5AE-A4D7EE3152F2}"/>
              </a:ext>
            </a:extLst>
          </p:cNvPr>
          <p:cNvSpPr/>
          <p:nvPr/>
        </p:nvSpPr>
        <p:spPr bwMode="auto">
          <a:xfrm>
            <a:off x="4387726" y="3671638"/>
            <a:ext cx="534708" cy="5254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313">
            <a:extLst>
              <a:ext uri="{FF2B5EF4-FFF2-40B4-BE49-F238E27FC236}">
                <a16:creationId xmlns:a16="http://schemas.microsoft.com/office/drawing/2014/main" id="{7EFA39B1-EEB2-45A3-B355-E1FF10405B2E}"/>
              </a:ext>
            </a:extLst>
          </p:cNvPr>
          <p:cNvSpPr/>
          <p:nvPr/>
        </p:nvSpPr>
        <p:spPr bwMode="auto">
          <a:xfrm>
            <a:off x="4379245" y="4583945"/>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314">
            <a:extLst>
              <a:ext uri="{FF2B5EF4-FFF2-40B4-BE49-F238E27FC236}">
                <a16:creationId xmlns:a16="http://schemas.microsoft.com/office/drawing/2014/main" id="{87196080-A42E-4F3E-907D-D36963F4C554}"/>
              </a:ext>
            </a:extLst>
          </p:cNvPr>
          <p:cNvSpPr/>
          <p:nvPr/>
        </p:nvSpPr>
        <p:spPr bwMode="auto">
          <a:xfrm>
            <a:off x="4387727" y="5478519"/>
            <a:ext cx="774851" cy="565373"/>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6" name="Rectangle 315">
            <a:extLst>
              <a:ext uri="{FF2B5EF4-FFF2-40B4-BE49-F238E27FC236}">
                <a16:creationId xmlns:a16="http://schemas.microsoft.com/office/drawing/2014/main" id="{D566F6C8-688F-42C6-918D-CB5045A23810}"/>
              </a:ext>
            </a:extLst>
          </p:cNvPr>
          <p:cNvSpPr/>
          <p:nvPr/>
        </p:nvSpPr>
        <p:spPr bwMode="auto">
          <a:xfrm>
            <a:off x="9599022" y="462066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316">
            <a:extLst>
              <a:ext uri="{FF2B5EF4-FFF2-40B4-BE49-F238E27FC236}">
                <a16:creationId xmlns:a16="http://schemas.microsoft.com/office/drawing/2014/main" id="{A235131C-2F00-41ED-AE03-B6BDF97F63F9}"/>
              </a:ext>
            </a:extLst>
          </p:cNvPr>
          <p:cNvSpPr/>
          <p:nvPr/>
        </p:nvSpPr>
        <p:spPr bwMode="auto">
          <a:xfrm>
            <a:off x="9602651" y="5075241"/>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317">
            <a:extLst>
              <a:ext uri="{FF2B5EF4-FFF2-40B4-BE49-F238E27FC236}">
                <a16:creationId xmlns:a16="http://schemas.microsoft.com/office/drawing/2014/main" id="{F19D91F6-3F1B-4E22-A3FF-2B22767128C4}"/>
              </a:ext>
            </a:extLst>
          </p:cNvPr>
          <p:cNvSpPr/>
          <p:nvPr/>
        </p:nvSpPr>
        <p:spPr bwMode="auto">
          <a:xfrm>
            <a:off x="9599022" y="5529814"/>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318">
            <a:extLst>
              <a:ext uri="{FF2B5EF4-FFF2-40B4-BE49-F238E27FC236}">
                <a16:creationId xmlns:a16="http://schemas.microsoft.com/office/drawing/2014/main" id="{90B6BA66-C39A-4428-9769-4A63A9DEA76E}"/>
              </a:ext>
            </a:extLst>
          </p:cNvPr>
          <p:cNvSpPr/>
          <p:nvPr/>
        </p:nvSpPr>
        <p:spPr bwMode="auto">
          <a:xfrm>
            <a:off x="9599022" y="598903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0" name="Straight Arrow Connector 704">
            <a:extLst>
              <a:ext uri="{FF2B5EF4-FFF2-40B4-BE49-F238E27FC236}">
                <a16:creationId xmlns:a16="http://schemas.microsoft.com/office/drawing/2014/main" id="{2BFB34D5-D9B6-429E-8FFE-BC2E1D7D5A16}"/>
              </a:ext>
            </a:extLst>
          </p:cNvPr>
          <p:cNvCxnSpPr>
            <a:cxnSpLocks/>
            <a:stCxn id="318" idx="1"/>
            <a:endCxn id="298" idx="3"/>
          </p:cNvCxnSpPr>
          <p:nvPr/>
        </p:nvCxnSpPr>
        <p:spPr>
          <a:xfrm rot="10800000">
            <a:off x="6472713" y="4919133"/>
            <a:ext cx="3126310" cy="801126"/>
          </a:xfrm>
          <a:prstGeom prst="bentConnector3">
            <a:avLst>
              <a:gd name="adj1" fmla="val 91276"/>
            </a:avLst>
          </a:prstGeom>
          <a:noFill/>
          <a:ln w="38100" cap="flat" cmpd="sng" algn="ctr">
            <a:solidFill>
              <a:srgbClr val="737373"/>
            </a:solidFill>
            <a:prstDash val="solid"/>
            <a:headEnd type="diamond" w="med" len="med"/>
            <a:tailEnd type="triangle" w="med" len="med"/>
          </a:ln>
          <a:effectLst/>
        </p:spPr>
      </p:cxnSp>
      <p:cxnSp>
        <p:nvCxnSpPr>
          <p:cNvPr id="321" name="Straight Arrow Connector 704">
            <a:extLst>
              <a:ext uri="{FF2B5EF4-FFF2-40B4-BE49-F238E27FC236}">
                <a16:creationId xmlns:a16="http://schemas.microsoft.com/office/drawing/2014/main" id="{7DAC29B2-E980-4B0D-9E3E-6D8D820C8DE0}"/>
              </a:ext>
            </a:extLst>
          </p:cNvPr>
          <p:cNvCxnSpPr>
            <a:cxnSpLocks/>
            <a:stCxn id="319" idx="1"/>
            <a:endCxn id="299" idx="3"/>
          </p:cNvCxnSpPr>
          <p:nvPr/>
        </p:nvCxnSpPr>
        <p:spPr>
          <a:xfrm rot="10800000">
            <a:off x="6472713" y="5826460"/>
            <a:ext cx="3126310" cy="353024"/>
          </a:xfrm>
          <a:prstGeom prst="bentConnector3">
            <a:avLst>
              <a:gd name="adj1" fmla="val 91092"/>
            </a:avLst>
          </a:prstGeom>
          <a:noFill/>
          <a:ln w="38100" cap="flat" cmpd="sng" algn="ctr">
            <a:solidFill>
              <a:srgbClr val="737373"/>
            </a:solidFill>
            <a:prstDash val="solid"/>
            <a:headEnd type="diamond" w="med" len="med"/>
            <a:tailEnd type="triangle" w="med" len="med"/>
          </a:ln>
          <a:effectLst/>
        </p:spPr>
      </p:cxnSp>
      <p:cxnSp>
        <p:nvCxnSpPr>
          <p:cNvPr id="322" name="Straight Arrow Connector 704">
            <a:extLst>
              <a:ext uri="{FF2B5EF4-FFF2-40B4-BE49-F238E27FC236}">
                <a16:creationId xmlns:a16="http://schemas.microsoft.com/office/drawing/2014/main" id="{1038B887-4B1E-4FFF-B815-45C25310DF00}"/>
              </a:ext>
            </a:extLst>
          </p:cNvPr>
          <p:cNvCxnSpPr>
            <a:cxnSpLocks/>
            <a:stCxn id="303" idx="1"/>
            <a:endCxn id="298" idx="3"/>
          </p:cNvCxnSpPr>
          <p:nvPr/>
        </p:nvCxnSpPr>
        <p:spPr>
          <a:xfrm rot="10800000" flipV="1">
            <a:off x="6472715" y="3595868"/>
            <a:ext cx="3122680" cy="1323265"/>
          </a:xfrm>
          <a:prstGeom prst="bentConnector3">
            <a:avLst>
              <a:gd name="adj1" fmla="val 84224"/>
            </a:avLst>
          </a:prstGeom>
          <a:noFill/>
          <a:ln w="28575" cap="flat" cmpd="sng" algn="ctr">
            <a:solidFill>
              <a:srgbClr val="00B294"/>
            </a:solidFill>
            <a:prstDash val="solid"/>
            <a:headEnd type="diamond" w="med" len="med"/>
            <a:tailEnd type="triangle" w="med" len="med"/>
          </a:ln>
          <a:effectLst/>
        </p:spPr>
      </p:cxnSp>
      <p:cxnSp>
        <p:nvCxnSpPr>
          <p:cNvPr id="323" name="Straight Arrow Connector 704">
            <a:extLst>
              <a:ext uri="{FF2B5EF4-FFF2-40B4-BE49-F238E27FC236}">
                <a16:creationId xmlns:a16="http://schemas.microsoft.com/office/drawing/2014/main" id="{F8B16B39-A765-4713-BBE7-F55CDA7C4246}"/>
              </a:ext>
            </a:extLst>
          </p:cNvPr>
          <p:cNvCxnSpPr>
            <a:cxnSpLocks/>
            <a:stCxn id="304" idx="1"/>
            <a:endCxn id="299" idx="3"/>
          </p:cNvCxnSpPr>
          <p:nvPr/>
        </p:nvCxnSpPr>
        <p:spPr>
          <a:xfrm rot="10800000" flipV="1">
            <a:off x="6472715" y="4055093"/>
            <a:ext cx="3122680" cy="1771368"/>
          </a:xfrm>
          <a:prstGeom prst="bentConnector3">
            <a:avLst>
              <a:gd name="adj1" fmla="val 84295"/>
            </a:avLst>
          </a:prstGeom>
          <a:noFill/>
          <a:ln w="28575" cap="flat" cmpd="sng" algn="ctr">
            <a:solidFill>
              <a:srgbClr val="00B294"/>
            </a:solidFill>
            <a:prstDash val="solid"/>
            <a:headEnd type="diamond" w="med" len="med"/>
            <a:tailEnd type="triangle" w="med" len="med"/>
          </a:ln>
          <a:effectLst/>
        </p:spPr>
      </p:cxnSp>
      <p:cxnSp>
        <p:nvCxnSpPr>
          <p:cNvPr id="324" name="Straight Arrow Connector 704">
            <a:extLst>
              <a:ext uri="{FF2B5EF4-FFF2-40B4-BE49-F238E27FC236}">
                <a16:creationId xmlns:a16="http://schemas.microsoft.com/office/drawing/2014/main" id="{5469FF22-2737-44F5-AB4F-B0F6D65487BE}"/>
              </a:ext>
            </a:extLst>
          </p:cNvPr>
          <p:cNvCxnSpPr>
            <a:cxnSpLocks/>
            <a:stCxn id="317" idx="1"/>
            <a:endCxn id="297" idx="3"/>
          </p:cNvCxnSpPr>
          <p:nvPr/>
        </p:nvCxnSpPr>
        <p:spPr>
          <a:xfrm rot="10800000">
            <a:off x="6472713" y="4004994"/>
            <a:ext cx="3129938" cy="1260694"/>
          </a:xfrm>
          <a:prstGeom prst="bentConnector3">
            <a:avLst>
              <a:gd name="adj1" fmla="val 91402"/>
            </a:avLst>
          </a:prstGeom>
          <a:noFill/>
          <a:ln w="38100" cap="flat" cmpd="sng" algn="ctr">
            <a:solidFill>
              <a:srgbClr val="737373"/>
            </a:solidFill>
            <a:prstDash val="solid"/>
            <a:headEnd type="diamond" w="med" len="med"/>
            <a:tailEnd type="triangle" w="med" len="med"/>
          </a:ln>
          <a:effectLst/>
        </p:spPr>
      </p:cxnSp>
      <p:sp>
        <p:nvSpPr>
          <p:cNvPr id="325" name="Rectangle 324">
            <a:extLst>
              <a:ext uri="{FF2B5EF4-FFF2-40B4-BE49-F238E27FC236}">
                <a16:creationId xmlns:a16="http://schemas.microsoft.com/office/drawing/2014/main" id="{457152C3-0CAE-4073-8430-9D713DC76740}"/>
              </a:ext>
            </a:extLst>
          </p:cNvPr>
          <p:cNvSpPr/>
          <p:nvPr/>
        </p:nvSpPr>
        <p:spPr bwMode="auto">
          <a:xfrm>
            <a:off x="7115342" y="2554195"/>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a:t>
            </a:r>
          </a:p>
        </p:txBody>
      </p:sp>
      <p:sp>
        <p:nvSpPr>
          <p:cNvPr id="326" name="Rectangle 325">
            <a:extLst>
              <a:ext uri="{FF2B5EF4-FFF2-40B4-BE49-F238E27FC236}">
                <a16:creationId xmlns:a16="http://schemas.microsoft.com/office/drawing/2014/main" id="{D5CC7AE6-30CB-413F-A374-60C9E487D476}"/>
              </a:ext>
            </a:extLst>
          </p:cNvPr>
          <p:cNvSpPr/>
          <p:nvPr/>
        </p:nvSpPr>
        <p:spPr bwMode="auto">
          <a:xfrm>
            <a:off x="7115342" y="4611013"/>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 2</a:t>
            </a:r>
          </a:p>
        </p:txBody>
      </p:sp>
      <p:cxnSp>
        <p:nvCxnSpPr>
          <p:cNvPr id="327" name="Straight Arrow Connector 704">
            <a:extLst>
              <a:ext uri="{FF2B5EF4-FFF2-40B4-BE49-F238E27FC236}">
                <a16:creationId xmlns:a16="http://schemas.microsoft.com/office/drawing/2014/main" id="{808473BE-8557-432B-8308-97B9E05D1B4D}"/>
              </a:ext>
            </a:extLst>
          </p:cNvPr>
          <p:cNvCxnSpPr>
            <a:cxnSpLocks/>
            <a:stCxn id="316" idx="1"/>
            <a:endCxn id="295" idx="3"/>
          </p:cNvCxnSpPr>
          <p:nvPr/>
        </p:nvCxnSpPr>
        <p:spPr>
          <a:xfrm rot="10800000">
            <a:off x="6475709" y="3119448"/>
            <a:ext cx="3123313" cy="1691666"/>
          </a:xfrm>
          <a:prstGeom prst="bentConnector3">
            <a:avLst>
              <a:gd name="adj1" fmla="val 91485"/>
            </a:avLst>
          </a:prstGeom>
          <a:noFill/>
          <a:ln w="38100" cap="flat" cmpd="sng" algn="ctr">
            <a:solidFill>
              <a:srgbClr val="737373"/>
            </a:solidFill>
            <a:prstDash val="solid"/>
            <a:headEnd type="diamond" w="med" len="med"/>
            <a:tailEnd type="triangle" w="med" len="med"/>
          </a:ln>
          <a:effectLst/>
        </p:spPr>
      </p:cxnSp>
      <p:sp>
        <p:nvSpPr>
          <p:cNvPr id="440" name="Title 16">
            <a:extLst>
              <a:ext uri="{FF2B5EF4-FFF2-40B4-BE49-F238E27FC236}">
                <a16:creationId xmlns:a16="http://schemas.microsoft.com/office/drawing/2014/main" id="{CBB39C37-CABE-472C-8E1B-3A69C4833EF4}"/>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Event Hubs Conceptual Architecture</a:t>
            </a:r>
            <a:endPar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556834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a:solidFill>
            <a:schemeClr val="bg2"/>
          </a:solidFill>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549020" y="3460355"/>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002936"/>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01394" y="3769527"/>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3596027">
            <a:off x="10482800" y="3508137"/>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9006225" y="4469560"/>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051701"/>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a:t>
            </a:r>
          </a:p>
        </p:txBody>
      </p:sp>
      <p:cxnSp>
        <p:nvCxnSpPr>
          <p:cNvPr id="96" name="Straight Arrow Connector 95">
            <a:extLst>
              <a:ext uri="{FF2B5EF4-FFF2-40B4-BE49-F238E27FC236}">
                <a16:creationId xmlns:a16="http://schemas.microsoft.com/office/drawing/2014/main" id="{E9CCDAD4-51E6-459D-8D12-A3A1BF635535}"/>
              </a:ext>
            </a:extLst>
          </p:cNvPr>
          <p:cNvCxnSpPr>
            <a:cxnSpLocks/>
            <a:endCxn id="94" idx="1"/>
          </p:cNvCxnSpPr>
          <p:nvPr/>
        </p:nvCxnSpPr>
        <p:spPr>
          <a:xfrm>
            <a:off x="7152754" y="4660333"/>
            <a:ext cx="1853471" cy="113339"/>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377990" y="4635660"/>
            <a:ext cx="983756" cy="12225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00" name="Picture 99">
            <a:extLst>
              <a:ext uri="{FF2B5EF4-FFF2-40B4-BE49-F238E27FC236}">
                <a16:creationId xmlns:a16="http://schemas.microsoft.com/office/drawing/2014/main" id="{661157CB-840C-41DB-9D4A-AE25E34E905A}"/>
              </a:ext>
            </a:extLst>
          </p:cNvPr>
          <p:cNvPicPr>
            <a:picLocks noChangeAspect="1"/>
          </p:cNvPicPr>
          <p:nvPr/>
        </p:nvPicPr>
        <p:blipFill>
          <a:blip r:embed="rId4"/>
          <a:stretch>
            <a:fillRect/>
          </a:stretch>
        </p:blipFill>
        <p:spPr>
          <a:xfrm rot="11434136">
            <a:off x="9409469" y="5199309"/>
            <a:ext cx="132439" cy="355494"/>
          </a:xfrm>
          <a:prstGeom prst="rect">
            <a:avLst/>
          </a:prstGeom>
        </p:spPr>
      </p:pic>
      <p:sp>
        <p:nvSpPr>
          <p:cNvPr id="102" name="TextBox 101">
            <a:extLst>
              <a:ext uri="{FF2B5EF4-FFF2-40B4-BE49-F238E27FC236}">
                <a16:creationId xmlns:a16="http://schemas.microsoft.com/office/drawing/2014/main" id="{C582B2F0-695B-4B62-9618-56BDD817122B}"/>
              </a:ext>
            </a:extLst>
          </p:cNvPr>
          <p:cNvSpPr txBox="1"/>
          <p:nvPr/>
        </p:nvSpPr>
        <p:spPr>
          <a:xfrm>
            <a:off x="8567356" y="5606690"/>
            <a:ext cx="3202031" cy="26497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Active reader of a partition in a consumer group</a:t>
            </a:r>
          </a:p>
        </p:txBody>
      </p:sp>
      <p:sp>
        <p:nvSpPr>
          <p:cNvPr id="44" name="TextBox 43">
            <a:extLst>
              <a:ext uri="{FF2B5EF4-FFF2-40B4-BE49-F238E27FC236}">
                <a16:creationId xmlns:a16="http://schemas.microsoft.com/office/drawing/2014/main" id="{3B09689E-3BE2-46CD-8699-E8610BFF0DE1}"/>
              </a:ext>
            </a:extLst>
          </p:cNvPr>
          <p:cNvSpPr txBox="1"/>
          <p:nvPr/>
        </p:nvSpPr>
        <p:spPr>
          <a:xfrm>
            <a:off x="8567355" y="5864511"/>
            <a:ext cx="3202031" cy="43762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Only 1 active reader at a time per partition per consumer group</a:t>
            </a:r>
          </a:p>
        </p:txBody>
      </p:sp>
      <p:sp>
        <p:nvSpPr>
          <p:cNvPr id="47" name="Title 16">
            <a:extLst>
              <a:ext uri="{FF2B5EF4-FFF2-40B4-BE49-F238E27FC236}">
                <a16:creationId xmlns:a16="http://schemas.microsoft.com/office/drawing/2014/main" id="{C35AEDFA-3B57-422A-89E2-2D35EF005B50}"/>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4019357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8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8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88"/>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8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9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83"/>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9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9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95"/>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96"/>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98"/>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00"/>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02"/>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animBg="1"/>
      <p:bldP spid="9" grpId="0" animBg="1"/>
      <p:bldP spid="10" grpId="0" animBg="1"/>
      <p:bldP spid="11" grpId="0"/>
      <p:bldP spid="12" grpId="0"/>
      <p:bldP spid="13" grpId="0"/>
      <p:bldP spid="14" grpId="0"/>
      <p:bldP spid="64" grpId="0"/>
      <p:bldP spid="83" grpId="0"/>
      <p:bldP spid="91" grpId="0"/>
      <p:bldP spid="92" grpId="0"/>
      <p:bldP spid="95" grpId="0"/>
      <p:bldP spid="102" grpId="0"/>
      <p:bldP spid="4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361745" y="6345278"/>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690587"/>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87668" y="5943232"/>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9053886">
            <a:off x="11342713" y="5972076"/>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8974970" y="4993115"/>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598707"/>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 (Reader)</a:t>
            </a:r>
          </a:p>
        </p:txBody>
      </p:sp>
      <p:cxnSp>
        <p:nvCxnSpPr>
          <p:cNvPr id="96" name="Straight Arrow Connector 95">
            <a:extLst>
              <a:ext uri="{FF2B5EF4-FFF2-40B4-BE49-F238E27FC236}">
                <a16:creationId xmlns:a16="http://schemas.microsoft.com/office/drawing/2014/main" id="{E9CCDAD4-51E6-459D-8D12-A3A1BF635535}"/>
              </a:ext>
            </a:extLst>
          </p:cNvPr>
          <p:cNvCxnSpPr>
            <a:cxnSpLocks/>
          </p:cNvCxnSpPr>
          <p:nvPr/>
        </p:nvCxnSpPr>
        <p:spPr>
          <a:xfrm>
            <a:off x="7278444" y="4627843"/>
            <a:ext cx="1650604" cy="53908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444242" y="5166924"/>
            <a:ext cx="555647" cy="794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781C38A-F9BB-4761-AB92-258200C39FFD}"/>
              </a:ext>
            </a:extLst>
          </p:cNvPr>
          <p:cNvPicPr>
            <a:picLocks noChangeAspect="1"/>
          </p:cNvPicPr>
          <p:nvPr/>
        </p:nvPicPr>
        <p:blipFill>
          <a:blip r:embed="rId10"/>
          <a:stretch>
            <a:fillRect/>
          </a:stretch>
        </p:blipFill>
        <p:spPr>
          <a:xfrm>
            <a:off x="9693658" y="1594622"/>
            <a:ext cx="1852363" cy="1485701"/>
          </a:xfrm>
          <a:prstGeom prst="rect">
            <a:avLst/>
          </a:prstGeom>
        </p:spPr>
      </p:pic>
      <p:pic>
        <p:nvPicPr>
          <p:cNvPr id="52" name="Picture 51">
            <a:extLst>
              <a:ext uri="{FF2B5EF4-FFF2-40B4-BE49-F238E27FC236}">
                <a16:creationId xmlns:a16="http://schemas.microsoft.com/office/drawing/2014/main" id="{FD0A93CB-C7CE-4C20-8673-E28F1CC678C8}"/>
              </a:ext>
            </a:extLst>
          </p:cNvPr>
          <p:cNvPicPr>
            <a:picLocks noChangeAspect="1"/>
          </p:cNvPicPr>
          <p:nvPr/>
        </p:nvPicPr>
        <p:blipFill>
          <a:blip r:embed="rId3"/>
          <a:stretch>
            <a:fillRect/>
          </a:stretch>
        </p:blipFill>
        <p:spPr>
          <a:xfrm>
            <a:off x="8610124" y="2109661"/>
            <a:ext cx="478470" cy="608225"/>
          </a:xfrm>
          <a:prstGeom prst="rect">
            <a:avLst/>
          </a:prstGeom>
        </p:spPr>
      </p:pic>
      <p:pic>
        <p:nvPicPr>
          <p:cNvPr id="53" name="Picture 52">
            <a:extLst>
              <a:ext uri="{FF2B5EF4-FFF2-40B4-BE49-F238E27FC236}">
                <a16:creationId xmlns:a16="http://schemas.microsoft.com/office/drawing/2014/main" id="{00045E57-1187-4DA8-B3BE-C7E1752E5151}"/>
              </a:ext>
            </a:extLst>
          </p:cNvPr>
          <p:cNvPicPr>
            <a:picLocks noChangeAspect="1"/>
          </p:cNvPicPr>
          <p:nvPr/>
        </p:nvPicPr>
        <p:blipFill>
          <a:blip r:embed="rId3"/>
          <a:stretch>
            <a:fillRect/>
          </a:stretch>
        </p:blipFill>
        <p:spPr>
          <a:xfrm>
            <a:off x="8774163" y="2894039"/>
            <a:ext cx="478470" cy="608225"/>
          </a:xfrm>
          <a:prstGeom prst="rect">
            <a:avLst/>
          </a:prstGeom>
        </p:spPr>
      </p:pic>
      <p:pic>
        <p:nvPicPr>
          <p:cNvPr id="54" name="Picture 53">
            <a:extLst>
              <a:ext uri="{FF2B5EF4-FFF2-40B4-BE49-F238E27FC236}">
                <a16:creationId xmlns:a16="http://schemas.microsoft.com/office/drawing/2014/main" id="{41B2A1F5-3A27-40FA-9CCF-D7936751D37E}"/>
              </a:ext>
            </a:extLst>
          </p:cNvPr>
          <p:cNvPicPr>
            <a:picLocks noChangeAspect="1"/>
          </p:cNvPicPr>
          <p:nvPr/>
        </p:nvPicPr>
        <p:blipFill>
          <a:blip r:embed="rId3"/>
          <a:stretch>
            <a:fillRect/>
          </a:stretch>
        </p:blipFill>
        <p:spPr>
          <a:xfrm>
            <a:off x="9444242" y="3252546"/>
            <a:ext cx="478470" cy="608225"/>
          </a:xfrm>
          <a:prstGeom prst="rect">
            <a:avLst/>
          </a:prstGeom>
        </p:spPr>
      </p:pic>
      <p:pic>
        <p:nvPicPr>
          <p:cNvPr id="55" name="Picture 54">
            <a:extLst>
              <a:ext uri="{FF2B5EF4-FFF2-40B4-BE49-F238E27FC236}">
                <a16:creationId xmlns:a16="http://schemas.microsoft.com/office/drawing/2014/main" id="{B27706C5-9C97-47B9-B780-0C0ECD95AD73}"/>
              </a:ext>
            </a:extLst>
          </p:cNvPr>
          <p:cNvPicPr>
            <a:picLocks noChangeAspect="1"/>
          </p:cNvPicPr>
          <p:nvPr/>
        </p:nvPicPr>
        <p:blipFill>
          <a:blip r:embed="rId3"/>
          <a:stretch>
            <a:fillRect/>
          </a:stretch>
        </p:blipFill>
        <p:spPr>
          <a:xfrm>
            <a:off x="10121825" y="3429835"/>
            <a:ext cx="478470" cy="608225"/>
          </a:xfrm>
          <a:prstGeom prst="rect">
            <a:avLst/>
          </a:prstGeom>
        </p:spPr>
      </p:pic>
      <p:cxnSp>
        <p:nvCxnSpPr>
          <p:cNvPr id="58" name="Straight Arrow Connector 57">
            <a:extLst>
              <a:ext uri="{FF2B5EF4-FFF2-40B4-BE49-F238E27FC236}">
                <a16:creationId xmlns:a16="http://schemas.microsoft.com/office/drawing/2014/main" id="{1460121B-39E1-4976-9F57-C1835CCB8D3C}"/>
              </a:ext>
            </a:extLst>
          </p:cNvPr>
          <p:cNvCxnSpPr>
            <a:cxnSpLocks/>
          </p:cNvCxnSpPr>
          <p:nvPr/>
        </p:nvCxnSpPr>
        <p:spPr>
          <a:xfrm>
            <a:off x="6389549" y="2395022"/>
            <a:ext cx="1979217" cy="10185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0EBBA70-BCAC-43B6-88EB-1526CE9FA529}"/>
              </a:ext>
            </a:extLst>
          </p:cNvPr>
          <p:cNvCxnSpPr>
            <a:cxnSpLocks/>
          </p:cNvCxnSpPr>
          <p:nvPr/>
        </p:nvCxnSpPr>
        <p:spPr>
          <a:xfrm flipV="1">
            <a:off x="6361118" y="3393416"/>
            <a:ext cx="2292072" cy="10008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8E55E12-17AE-4A79-80B6-FEF0E1E7E53F}"/>
              </a:ext>
            </a:extLst>
          </p:cNvPr>
          <p:cNvCxnSpPr>
            <a:cxnSpLocks/>
          </p:cNvCxnSpPr>
          <p:nvPr/>
        </p:nvCxnSpPr>
        <p:spPr>
          <a:xfrm flipV="1">
            <a:off x="7201383" y="3786753"/>
            <a:ext cx="2054183" cy="69944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874AB84-62CC-4618-B551-AED3B15245A5}"/>
              </a:ext>
            </a:extLst>
          </p:cNvPr>
          <p:cNvCxnSpPr>
            <a:cxnSpLocks/>
          </p:cNvCxnSpPr>
          <p:nvPr/>
        </p:nvCxnSpPr>
        <p:spPr>
          <a:xfrm flipV="1">
            <a:off x="6949832" y="4073639"/>
            <a:ext cx="3042790" cy="17278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4DA391E-2090-4A72-8DCA-FAA2B3CCAD65}"/>
              </a:ext>
            </a:extLst>
          </p:cNvPr>
          <p:cNvCxnSpPr>
            <a:cxnSpLocks/>
            <a:stCxn id="52" idx="3"/>
          </p:cNvCxnSpPr>
          <p:nvPr/>
        </p:nvCxnSpPr>
        <p:spPr>
          <a:xfrm flipV="1">
            <a:off x="9088595" y="2109663"/>
            <a:ext cx="834117" cy="30411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B2B20E5F-7623-4027-AB93-76D7AC16027E}"/>
              </a:ext>
            </a:extLst>
          </p:cNvPr>
          <p:cNvCxnSpPr>
            <a:cxnSpLocks/>
          </p:cNvCxnSpPr>
          <p:nvPr/>
        </p:nvCxnSpPr>
        <p:spPr>
          <a:xfrm flipV="1">
            <a:off x="9255566" y="2555596"/>
            <a:ext cx="928770" cy="59017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DC5EE01C-305E-47F3-9646-87114483688E}"/>
              </a:ext>
            </a:extLst>
          </p:cNvPr>
          <p:cNvCxnSpPr>
            <a:cxnSpLocks/>
          </p:cNvCxnSpPr>
          <p:nvPr/>
        </p:nvCxnSpPr>
        <p:spPr>
          <a:xfrm flipV="1">
            <a:off x="9857697" y="2196336"/>
            <a:ext cx="1169112" cy="125215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536D0429-401D-4428-AEFD-EDE067C931D7}"/>
              </a:ext>
            </a:extLst>
          </p:cNvPr>
          <p:cNvCxnSpPr>
            <a:cxnSpLocks/>
          </p:cNvCxnSpPr>
          <p:nvPr/>
        </p:nvCxnSpPr>
        <p:spPr>
          <a:xfrm flipV="1">
            <a:off x="10538233" y="2685629"/>
            <a:ext cx="340104" cy="95663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75172AB0-0741-40A0-913B-9E8C406AAAAC}"/>
              </a:ext>
            </a:extLst>
          </p:cNvPr>
          <p:cNvSpPr txBox="1"/>
          <p:nvPr/>
        </p:nvSpPr>
        <p:spPr>
          <a:xfrm rot="10800000" flipV="1">
            <a:off x="8044144" y="1371345"/>
            <a:ext cx="1871275"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s</a:t>
            </a:r>
          </a:p>
        </p:txBody>
      </p:sp>
      <p:pic>
        <p:nvPicPr>
          <p:cNvPr id="97" name="Picture 96">
            <a:extLst>
              <a:ext uri="{FF2B5EF4-FFF2-40B4-BE49-F238E27FC236}">
                <a16:creationId xmlns:a16="http://schemas.microsoft.com/office/drawing/2014/main" id="{C4AB1D58-9723-4927-BCD2-1F93D5ECCAFC}"/>
              </a:ext>
            </a:extLst>
          </p:cNvPr>
          <p:cNvPicPr>
            <a:picLocks noChangeAspect="1"/>
          </p:cNvPicPr>
          <p:nvPr/>
        </p:nvPicPr>
        <p:blipFill>
          <a:blip r:embed="rId4"/>
          <a:stretch>
            <a:fillRect/>
          </a:stretch>
        </p:blipFill>
        <p:spPr>
          <a:xfrm rot="404310" flipH="1">
            <a:off x="8922941" y="1692437"/>
            <a:ext cx="147281" cy="395333"/>
          </a:xfrm>
          <a:prstGeom prst="rect">
            <a:avLst/>
          </a:prstGeom>
        </p:spPr>
      </p:pic>
      <p:sp>
        <p:nvSpPr>
          <p:cNvPr id="101" name="TextBox 100">
            <a:extLst>
              <a:ext uri="{FF2B5EF4-FFF2-40B4-BE49-F238E27FC236}">
                <a16:creationId xmlns:a16="http://schemas.microsoft.com/office/drawing/2014/main" id="{94F58C76-2ED2-4181-B167-5F1CE640F457}"/>
              </a:ext>
            </a:extLst>
          </p:cNvPr>
          <p:cNvSpPr txBox="1"/>
          <p:nvPr/>
        </p:nvSpPr>
        <p:spPr>
          <a:xfrm>
            <a:off x="9760317" y="1500819"/>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Newspaper</a:t>
            </a:r>
            <a:endParaRPr lang="en-US" sz="1400" b="1" dirty="0">
              <a:solidFill>
                <a:srgbClr val="353535"/>
              </a:solidFill>
              <a:latin typeface="Bradley Hand ITC" panose="03070402050302030203" pitchFamily="66" charset="0"/>
            </a:endParaRPr>
          </a:p>
        </p:txBody>
      </p:sp>
      <p:sp>
        <p:nvSpPr>
          <p:cNvPr id="104" name="TextBox 103">
            <a:extLst>
              <a:ext uri="{FF2B5EF4-FFF2-40B4-BE49-F238E27FC236}">
                <a16:creationId xmlns:a16="http://schemas.microsoft.com/office/drawing/2014/main" id="{2EAEF08C-A623-4ACB-AF73-10A53A19C1F9}"/>
              </a:ext>
            </a:extLst>
          </p:cNvPr>
          <p:cNvSpPr txBox="1"/>
          <p:nvPr/>
        </p:nvSpPr>
        <p:spPr>
          <a:xfrm>
            <a:off x="10115604" y="1051100"/>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2</a:t>
            </a:r>
          </a:p>
        </p:txBody>
      </p:sp>
      <p:pic>
        <p:nvPicPr>
          <p:cNvPr id="105" name="Picture 104">
            <a:extLst>
              <a:ext uri="{FF2B5EF4-FFF2-40B4-BE49-F238E27FC236}">
                <a16:creationId xmlns:a16="http://schemas.microsoft.com/office/drawing/2014/main" id="{103C603A-C40D-4AD2-A620-1D045E9FF574}"/>
              </a:ext>
            </a:extLst>
          </p:cNvPr>
          <p:cNvPicPr>
            <a:picLocks noChangeAspect="1"/>
          </p:cNvPicPr>
          <p:nvPr/>
        </p:nvPicPr>
        <p:blipFill>
          <a:blip r:embed="rId4"/>
          <a:stretch>
            <a:fillRect/>
          </a:stretch>
        </p:blipFill>
        <p:spPr>
          <a:xfrm rot="598702">
            <a:off x="10157011" y="1201423"/>
            <a:ext cx="132439" cy="355494"/>
          </a:xfrm>
          <a:prstGeom prst="rect">
            <a:avLst/>
          </a:prstGeom>
        </p:spPr>
      </p:pic>
      <p:sp>
        <p:nvSpPr>
          <p:cNvPr id="106" name="TextBox 105">
            <a:extLst>
              <a:ext uri="{FF2B5EF4-FFF2-40B4-BE49-F238E27FC236}">
                <a16:creationId xmlns:a16="http://schemas.microsoft.com/office/drawing/2014/main" id="{70BFA7A4-2F19-4F1B-B921-61F098A99ADB}"/>
              </a:ext>
            </a:extLst>
          </p:cNvPr>
          <p:cNvSpPr txBox="1"/>
          <p:nvPr/>
        </p:nvSpPr>
        <p:spPr>
          <a:xfrm rot="10800000" flipV="1">
            <a:off x="7047822" y="1015500"/>
            <a:ext cx="2463016"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Only 1 active reader per partition</a:t>
            </a:r>
          </a:p>
        </p:txBody>
      </p:sp>
      <p:pic>
        <p:nvPicPr>
          <p:cNvPr id="107" name="Picture 106">
            <a:extLst>
              <a:ext uri="{FF2B5EF4-FFF2-40B4-BE49-F238E27FC236}">
                <a16:creationId xmlns:a16="http://schemas.microsoft.com/office/drawing/2014/main" id="{0FE81958-F1DD-4E6B-AD9B-6859E07B1D27}"/>
              </a:ext>
            </a:extLst>
          </p:cNvPr>
          <p:cNvPicPr>
            <a:picLocks noChangeAspect="1"/>
          </p:cNvPicPr>
          <p:nvPr/>
        </p:nvPicPr>
        <p:blipFill>
          <a:blip r:embed="rId4"/>
          <a:stretch>
            <a:fillRect/>
          </a:stretch>
        </p:blipFill>
        <p:spPr>
          <a:xfrm rot="598702">
            <a:off x="8582430" y="1236594"/>
            <a:ext cx="132439" cy="355494"/>
          </a:xfrm>
          <a:prstGeom prst="rect">
            <a:avLst/>
          </a:prstGeom>
        </p:spPr>
      </p:pic>
      <p:sp>
        <p:nvSpPr>
          <p:cNvPr id="82" name="Title 16">
            <a:extLst>
              <a:ext uri="{FF2B5EF4-FFF2-40B4-BE49-F238E27FC236}">
                <a16:creationId xmlns:a16="http://schemas.microsoft.com/office/drawing/2014/main" id="{DA0B6A93-B987-4D90-B883-121DA6EE9729}"/>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38761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p:bldP spid="101" grpId="0"/>
      <p:bldP spid="104" grpId="0"/>
      <p:bldP spid="10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r>
              <a:rPr lang="en-US" dirty="0"/>
              <a:t>Data organization mechanism</a:t>
            </a:r>
          </a:p>
          <a:p>
            <a:r>
              <a:rPr lang="en-US" dirty="0"/>
              <a:t>Specified at creation – NOT CHANGABLE</a:t>
            </a:r>
          </a:p>
          <a:p>
            <a:r>
              <a:rPr lang="en-US" dirty="0"/>
              <a:t>Between 2 and 32, default is 2 (32 is soft limit)</a:t>
            </a:r>
          </a:p>
          <a:p>
            <a:endParaRPr lang="en-US" dirty="0"/>
          </a:p>
        </p:txBody>
      </p:sp>
      <p:sp>
        <p:nvSpPr>
          <p:cNvPr id="3" name="Title 2"/>
          <p:cNvSpPr>
            <a:spLocks noGrp="1"/>
          </p:cNvSpPr>
          <p:nvPr>
            <p:ph type="title"/>
          </p:nvPr>
        </p:nvSpPr>
        <p:spPr/>
        <p:txBody>
          <a:bodyPr/>
          <a:lstStyle/>
          <a:p>
            <a:r>
              <a:rPr lang="en-US"/>
              <a:t>Partitions	</a:t>
            </a:r>
          </a:p>
        </p:txBody>
      </p:sp>
      <p:pic>
        <p:nvPicPr>
          <p:cNvPr id="4" name="Picture 3"/>
          <p:cNvPicPr>
            <a:picLocks noChangeAspect="1"/>
          </p:cNvPicPr>
          <p:nvPr/>
        </p:nvPicPr>
        <p:blipFill>
          <a:blip r:embed="rId2"/>
          <a:stretch>
            <a:fillRect/>
          </a:stretch>
        </p:blipFill>
        <p:spPr>
          <a:xfrm>
            <a:off x="3227472" y="3429000"/>
            <a:ext cx="5603437" cy="2969822"/>
          </a:xfrm>
          <a:prstGeom prst="rect">
            <a:avLst/>
          </a:prstGeom>
        </p:spPr>
      </p:pic>
    </p:spTree>
    <p:extLst>
      <p:ext uri="{BB962C8B-B14F-4D97-AF65-F5344CB8AC3E}">
        <p14:creationId xmlns:p14="http://schemas.microsoft.com/office/powerpoint/2010/main" val="2447532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6">
            <a:extLst>
              <a:ext uri="{FF2B5EF4-FFF2-40B4-BE49-F238E27FC236}">
                <a16:creationId xmlns:a16="http://schemas.microsoft.com/office/drawing/2014/main" id="{077C05AD-7848-4527-ACC0-137716851B85}"/>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How does Event Hubs Scale</a:t>
            </a:r>
          </a:p>
        </p:txBody>
      </p:sp>
      <p:sp>
        <p:nvSpPr>
          <p:cNvPr id="11" name="Text Placeholder 5">
            <a:extLst>
              <a:ext uri="{FF2B5EF4-FFF2-40B4-BE49-F238E27FC236}">
                <a16:creationId xmlns:a16="http://schemas.microsoft.com/office/drawing/2014/main" id="{FD1D4B2B-E8C5-425E-95C9-F9AA624490F0}"/>
              </a:ext>
            </a:extLst>
          </p:cNvPr>
          <p:cNvSpPr txBox="1">
            <a:spLocks/>
          </p:cNvSpPr>
          <p:nvPr/>
        </p:nvSpPr>
        <p:spPr>
          <a:xfrm>
            <a:off x="274638" y="1212850"/>
            <a:ext cx="7619999" cy="645099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roughput Unit (TU)</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Variable reserved capacity</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is is the component you purchase</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MB/s or 1,000 events/s in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2 MB/s or 2,000 events/s e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Namespace wide – across Event Hub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Overages are throttled (</a:t>
            </a:r>
            <a:r>
              <a:rPr kumimoji="0" lang="en-US" sz="2400" b="1" i="0" u="none" strike="noStrike" kern="1200" cap="none" spc="0" normalizeH="0" baseline="0" noProof="0" dirty="0" err="1">
                <a:ln>
                  <a:noFill/>
                </a:ln>
                <a:gradFill>
                  <a:gsLst>
                    <a:gs pos="1250">
                      <a:srgbClr val="353535"/>
                    </a:gs>
                    <a:gs pos="100000">
                      <a:srgbClr val="353535"/>
                    </a:gs>
                  </a:gsLst>
                  <a:lin ang="5400000" scaled="0"/>
                </a:gradFill>
                <a:effectLst/>
                <a:uLnTx/>
                <a:uFillTx/>
                <a:latin typeface="Segoe UI Light"/>
                <a:ea typeface="+mn-ea"/>
                <a:cs typeface="+mn-cs"/>
              </a:rPr>
              <a:t>ServerBusyException</a:t>
            </a: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vailable in</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 20 TUs hourly</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Blocks of 20 up to 100 with support ticket</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dditional options?</a:t>
            </a:r>
          </a:p>
          <a:p>
            <a:pPr marL="457200" indent="-4572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Should be less than or equal to the number of partitions</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2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pic>
        <p:nvPicPr>
          <p:cNvPr id="12" name="Picture 11">
            <a:extLst>
              <a:ext uri="{FF2B5EF4-FFF2-40B4-BE49-F238E27FC236}">
                <a16:creationId xmlns:a16="http://schemas.microsoft.com/office/drawing/2014/main" id="{B588F22A-A59A-4D5F-B7D5-3A44A89EC385}"/>
              </a:ext>
            </a:extLst>
          </p:cNvPr>
          <p:cNvPicPr>
            <a:picLocks noChangeAspect="1"/>
          </p:cNvPicPr>
          <p:nvPr/>
        </p:nvPicPr>
        <p:blipFill>
          <a:blip r:embed="rId2"/>
          <a:stretch>
            <a:fillRect/>
          </a:stretch>
        </p:blipFill>
        <p:spPr>
          <a:xfrm>
            <a:off x="7132637" y="1973262"/>
            <a:ext cx="4876800" cy="342629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65352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Event Hub Policies</a:t>
            </a:r>
          </a:p>
        </p:txBody>
      </p:sp>
      <p:sp>
        <p:nvSpPr>
          <p:cNvPr id="4" name="Text Placeholder 1"/>
          <p:cNvSpPr>
            <a:spLocks noGrp="1"/>
          </p:cNvSpPr>
          <p:nvPr>
            <p:ph type="body" sz="quarter" idx="10"/>
          </p:nvPr>
        </p:nvSpPr>
        <p:spPr>
          <a:xfrm>
            <a:off x="269239" y="1189495"/>
            <a:ext cx="11653523" cy="2715537"/>
          </a:xfrm>
        </p:spPr>
        <p:txBody>
          <a:bodyPr/>
          <a:lstStyle/>
          <a:p>
            <a:endParaRPr lang="en-US" dirty="0"/>
          </a:p>
          <a:p>
            <a:r>
              <a:rPr lang="en-US" dirty="0"/>
              <a:t>Enables authentication to the service</a:t>
            </a:r>
          </a:p>
          <a:p>
            <a:r>
              <a:rPr lang="en-US" dirty="0"/>
              <a:t>Configuration of permissions</a:t>
            </a:r>
          </a:p>
          <a:p>
            <a:endParaRPr lang="en-US" dirty="0"/>
          </a:p>
        </p:txBody>
      </p:sp>
      <p:pic>
        <p:nvPicPr>
          <p:cNvPr id="3" name="Picture 2">
            <a:extLst>
              <a:ext uri="{FF2B5EF4-FFF2-40B4-BE49-F238E27FC236}">
                <a16:creationId xmlns:a16="http://schemas.microsoft.com/office/drawing/2014/main" id="{843F0D72-FEA1-44D8-AFB0-69E3F85340A3}"/>
              </a:ext>
            </a:extLst>
          </p:cNvPr>
          <p:cNvPicPr>
            <a:picLocks noChangeAspect="1"/>
          </p:cNvPicPr>
          <p:nvPr/>
        </p:nvPicPr>
        <p:blipFill>
          <a:blip r:embed="rId3"/>
          <a:stretch>
            <a:fillRect/>
          </a:stretch>
        </p:blipFill>
        <p:spPr>
          <a:xfrm>
            <a:off x="7239073" y="182215"/>
            <a:ext cx="4410075" cy="6448425"/>
          </a:xfrm>
          <a:prstGeom prst="rect">
            <a:avLst/>
          </a:prstGeom>
        </p:spPr>
      </p:pic>
      <p:sp>
        <p:nvSpPr>
          <p:cNvPr id="5" name="Rectangle 4">
            <a:extLst>
              <a:ext uri="{FF2B5EF4-FFF2-40B4-BE49-F238E27FC236}">
                <a16:creationId xmlns:a16="http://schemas.microsoft.com/office/drawing/2014/main" id="{F188545D-35B0-4787-8B20-F8CE27110475}"/>
              </a:ext>
            </a:extLst>
          </p:cNvPr>
          <p:cNvSpPr/>
          <p:nvPr/>
        </p:nvSpPr>
        <p:spPr>
          <a:xfrm>
            <a:off x="379514" y="4094926"/>
            <a:ext cx="6096000" cy="1477328"/>
          </a:xfrm>
          <a:prstGeom prst="rect">
            <a:avLst/>
          </a:prstGeom>
        </p:spPr>
        <p:txBody>
          <a:bodyPr>
            <a:spAutoFit/>
          </a:bodyPr>
          <a:lstStyle/>
          <a:p>
            <a:r>
              <a:rPr lang="en-US" dirty="0"/>
              <a:t>Example Connection String: </a:t>
            </a:r>
          </a:p>
          <a:p>
            <a:r>
              <a:rPr lang="en-US" dirty="0"/>
              <a:t>Endpoint=sb://andyrob-ns.servicebus.windows.net/;</a:t>
            </a:r>
            <a:r>
              <a:rPr lang="en-US" dirty="0">
                <a:highlight>
                  <a:srgbClr val="FFFF00"/>
                </a:highlight>
              </a:rPr>
              <a:t>SharedAccessKeyName=reader</a:t>
            </a:r>
            <a:r>
              <a:rPr lang="en-US" dirty="0"/>
              <a:t>;SharedAccessKey=XXXXXXXXXXXXXXXXXXXXXXXXXXX=;</a:t>
            </a:r>
            <a:r>
              <a:rPr lang="en-US" dirty="0">
                <a:highlight>
                  <a:srgbClr val="FFFF00"/>
                </a:highlight>
              </a:rPr>
              <a:t>EntityPath=andyrob-eh</a:t>
            </a:r>
          </a:p>
        </p:txBody>
      </p:sp>
    </p:spTree>
    <p:extLst>
      <p:ext uri="{BB962C8B-B14F-4D97-AF65-F5344CB8AC3E}">
        <p14:creationId xmlns:p14="http://schemas.microsoft.com/office/powerpoint/2010/main" val="190371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2263661"/>
            <a:ext cx="11653523" cy="2715537"/>
          </a:xfrm>
        </p:spPr>
        <p:txBody>
          <a:bodyPr/>
          <a:lstStyle/>
          <a:p>
            <a:r>
              <a:rPr lang="en-US"/>
              <a:t>Azure Web Portal</a:t>
            </a:r>
          </a:p>
          <a:p>
            <a:r>
              <a:rPr lang="en-US"/>
              <a:t>Azure SDK </a:t>
            </a:r>
          </a:p>
          <a:p>
            <a:r>
              <a:rPr lang="en-US"/>
              <a:t>PowerShell</a:t>
            </a:r>
          </a:p>
          <a:p>
            <a:r>
              <a:rPr lang="en-US"/>
              <a:t>Service Bus Explorer </a:t>
            </a:r>
          </a:p>
        </p:txBody>
      </p:sp>
      <p:sp>
        <p:nvSpPr>
          <p:cNvPr id="17" name="Title 16"/>
          <p:cNvSpPr>
            <a:spLocks noGrp="1"/>
          </p:cNvSpPr>
          <p:nvPr>
            <p:ph type="title"/>
          </p:nvPr>
        </p:nvSpPr>
        <p:spPr/>
        <p:txBody>
          <a:bodyPr/>
          <a:lstStyle/>
          <a:p>
            <a:r>
              <a:rPr lang="en-US"/>
              <a:t>How to Interact with Event Hubs</a:t>
            </a:r>
          </a:p>
        </p:txBody>
      </p:sp>
    </p:spTree>
    <p:extLst>
      <p:ext uri="{BB962C8B-B14F-4D97-AF65-F5344CB8AC3E}">
        <p14:creationId xmlns:p14="http://schemas.microsoft.com/office/powerpoint/2010/main" val="383749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1546529"/>
            <a:ext cx="11653523" cy="4525894"/>
          </a:xfrm>
          <a:noFill/>
        </p:spPr>
        <p:txBody>
          <a:bodyPr/>
          <a:lstStyle/>
          <a:p>
            <a:pPr marL="0" indent="0">
              <a:spcBef>
                <a:spcPts val="0"/>
              </a:spcBef>
              <a:buNone/>
            </a:pPr>
            <a:r>
              <a:rPr lang="en-US" sz="1400" dirty="0"/>
              <a:t>static void </a:t>
            </a:r>
            <a:r>
              <a:rPr lang="en-US" sz="1400" dirty="0" err="1"/>
              <a:t>SendingRandomMessages</a:t>
            </a:r>
            <a:r>
              <a:rPr lang="en-US" sz="1400" dirty="0"/>
              <a:t>()</a:t>
            </a:r>
          </a:p>
          <a:p>
            <a:pPr marL="0" indent="0">
              <a:spcBef>
                <a:spcPts val="0"/>
              </a:spcBef>
              <a:buNone/>
            </a:pPr>
            <a:r>
              <a:rPr lang="en-US" sz="1400" dirty="0"/>
              <a:t>{</a:t>
            </a:r>
          </a:p>
          <a:p>
            <a:pPr marL="0" indent="0">
              <a:spcBef>
                <a:spcPts val="0"/>
              </a:spcBef>
              <a:buNone/>
            </a:pPr>
            <a:r>
              <a:rPr lang="en-US" sz="1400" dirty="0"/>
              <a:t>    </a:t>
            </a:r>
            <a:r>
              <a:rPr lang="en-US" sz="1400" dirty="0" err="1"/>
              <a:t>var</a:t>
            </a:r>
            <a:r>
              <a:rPr lang="en-US" sz="1400" dirty="0"/>
              <a:t> </a:t>
            </a:r>
            <a:r>
              <a:rPr lang="en-US" sz="1400" dirty="0" err="1"/>
              <a:t>eventHubClient</a:t>
            </a:r>
            <a:r>
              <a:rPr lang="en-US" sz="1400" dirty="0"/>
              <a:t> = </a:t>
            </a:r>
            <a:r>
              <a:rPr lang="en-US" sz="1400" dirty="0" err="1"/>
              <a:t>EventHubClient.CreateFromConnectionString</a:t>
            </a:r>
            <a:r>
              <a:rPr lang="en-US" sz="1400" dirty="0"/>
              <a:t>(</a:t>
            </a:r>
            <a:r>
              <a:rPr lang="en-US" sz="1400" dirty="0" err="1"/>
              <a:t>connectionString</a:t>
            </a:r>
            <a:r>
              <a:rPr lang="en-US" sz="1400" dirty="0"/>
              <a:t>, </a:t>
            </a:r>
            <a:r>
              <a:rPr lang="en-US" sz="1400" dirty="0" err="1"/>
              <a:t>eventHubName</a:t>
            </a:r>
            <a:r>
              <a:rPr lang="en-US" sz="1400" dirty="0"/>
              <a:t>);</a:t>
            </a:r>
          </a:p>
          <a:p>
            <a:pPr marL="0" indent="0">
              <a:spcBef>
                <a:spcPts val="0"/>
              </a:spcBef>
              <a:buNone/>
            </a:pPr>
            <a:r>
              <a:rPr lang="en-US" sz="1400" dirty="0"/>
              <a:t>    while (true)</a:t>
            </a:r>
          </a:p>
          <a:p>
            <a:pPr marL="0" indent="0">
              <a:spcBef>
                <a:spcPts val="0"/>
              </a:spcBef>
              <a:buNone/>
            </a:pPr>
            <a:r>
              <a:rPr lang="en-US" sz="1400" dirty="0"/>
              <a:t>    {</a:t>
            </a:r>
          </a:p>
          <a:p>
            <a:pPr marL="0" indent="0">
              <a:spcBef>
                <a:spcPts val="0"/>
              </a:spcBef>
              <a:buNone/>
            </a:pPr>
            <a:r>
              <a:rPr lang="en-US" sz="1400" dirty="0"/>
              <a:t>        try</a:t>
            </a:r>
          </a:p>
          <a:p>
            <a:pPr marL="0" indent="0">
              <a:spcBef>
                <a:spcPts val="0"/>
              </a:spcBef>
              <a:buNone/>
            </a:pPr>
            <a:r>
              <a:rPr lang="en-US" sz="1400" dirty="0"/>
              <a:t>        {</a:t>
            </a:r>
          </a:p>
          <a:p>
            <a:pPr marL="0" indent="0">
              <a:spcBef>
                <a:spcPts val="0"/>
              </a:spcBef>
              <a:buNone/>
            </a:pPr>
            <a:r>
              <a:rPr lang="en-US" sz="1400" dirty="0"/>
              <a:t>            </a:t>
            </a:r>
            <a:r>
              <a:rPr lang="en-US" sz="1400" dirty="0" err="1"/>
              <a:t>var</a:t>
            </a:r>
            <a:r>
              <a:rPr lang="en-US" sz="1400" dirty="0"/>
              <a:t> message = </a:t>
            </a:r>
            <a:r>
              <a:rPr lang="en-US" sz="1400" dirty="0" err="1"/>
              <a:t>Guid.NewGuid</a:t>
            </a:r>
            <a:r>
              <a:rPr lang="en-US" sz="1400" dirty="0"/>
              <a:t>().</a:t>
            </a:r>
            <a:r>
              <a:rPr lang="en-US" sz="1400" dirty="0" err="1"/>
              <a:t>ToString</a:t>
            </a:r>
            <a:r>
              <a:rPr lang="en-US" sz="1400" dirty="0"/>
              <a:t>();</a:t>
            </a:r>
          </a:p>
          <a:p>
            <a:pPr marL="0" indent="0">
              <a:spcBef>
                <a:spcPts val="0"/>
              </a:spcBef>
              <a:buNone/>
            </a:pPr>
            <a:r>
              <a:rPr lang="en-US" sz="1400" dirty="0"/>
              <a:t>            </a:t>
            </a:r>
            <a:r>
              <a:rPr lang="en-US" sz="1400" dirty="0" err="1"/>
              <a:t>Console.WriteLine</a:t>
            </a:r>
            <a:r>
              <a:rPr lang="en-US" sz="1400" dirty="0"/>
              <a:t>("{0} &gt; Sending message: {1}", </a:t>
            </a:r>
            <a:r>
              <a:rPr lang="en-US" sz="1400" dirty="0" err="1"/>
              <a:t>DateTime.Now</a:t>
            </a:r>
            <a:r>
              <a:rPr lang="en-US" sz="1400" dirty="0"/>
              <a:t>, message);</a:t>
            </a:r>
          </a:p>
          <a:p>
            <a:pPr marL="0" indent="0">
              <a:spcBef>
                <a:spcPts val="0"/>
              </a:spcBef>
              <a:buNone/>
            </a:pPr>
            <a:r>
              <a:rPr lang="en-US" sz="1400" dirty="0"/>
              <a:t>            </a:t>
            </a:r>
            <a:r>
              <a:rPr lang="en-US" sz="1400" dirty="0" err="1"/>
              <a:t>eventHubClient.Send</a:t>
            </a:r>
            <a:r>
              <a:rPr lang="en-US" sz="1400" dirty="0"/>
              <a:t>(new </a:t>
            </a:r>
            <a:r>
              <a:rPr lang="en-US" sz="1400" dirty="0" err="1"/>
              <a:t>EventData</a:t>
            </a:r>
            <a:r>
              <a:rPr lang="en-US" sz="1400" dirty="0"/>
              <a:t>(Encoding.UTF8.GetBytes(message)));</a:t>
            </a:r>
          </a:p>
          <a:p>
            <a:pPr marL="0" indent="0">
              <a:spcBef>
                <a:spcPts val="0"/>
              </a:spcBef>
              <a:buNone/>
            </a:pPr>
            <a:r>
              <a:rPr lang="en-US" sz="1400" dirty="0"/>
              <a:t>        }</a:t>
            </a:r>
          </a:p>
          <a:p>
            <a:pPr marL="0" indent="0">
              <a:spcBef>
                <a:spcPts val="0"/>
              </a:spcBef>
              <a:buNone/>
            </a:pPr>
            <a:r>
              <a:rPr lang="en-US" sz="1400" dirty="0"/>
              <a:t>        catch (Exception exception)</a:t>
            </a:r>
          </a:p>
          <a:p>
            <a:pPr marL="0" indent="0">
              <a:spcBef>
                <a:spcPts val="0"/>
              </a:spcBef>
              <a:buNone/>
            </a:pPr>
            <a:r>
              <a:rPr lang="en-US" sz="1400" dirty="0"/>
              <a:t>        {</a:t>
            </a:r>
          </a:p>
          <a:p>
            <a:pPr marL="0" indent="0">
              <a:spcBef>
                <a:spcPts val="0"/>
              </a:spcBef>
              <a:buNone/>
            </a:pPr>
            <a:r>
              <a:rPr lang="en-US" sz="1400" dirty="0"/>
              <a:t>            </a:t>
            </a:r>
            <a:r>
              <a:rPr lang="en-US" sz="1400" dirty="0" err="1"/>
              <a:t>Console.ForegroundColor</a:t>
            </a:r>
            <a:r>
              <a:rPr lang="en-US" sz="1400" dirty="0"/>
              <a:t> = </a:t>
            </a:r>
            <a:r>
              <a:rPr lang="en-US" sz="1400" dirty="0" err="1"/>
              <a:t>ConsoleColor.Red</a:t>
            </a:r>
            <a:r>
              <a:rPr lang="en-US" sz="1400" dirty="0"/>
              <a:t>;</a:t>
            </a:r>
          </a:p>
          <a:p>
            <a:pPr marL="0" indent="0">
              <a:spcBef>
                <a:spcPts val="0"/>
              </a:spcBef>
              <a:buNone/>
            </a:pPr>
            <a:r>
              <a:rPr lang="en-US" sz="1400" dirty="0"/>
              <a:t>            </a:t>
            </a:r>
            <a:r>
              <a:rPr lang="en-US" sz="1400" dirty="0" err="1"/>
              <a:t>Console.WriteLine</a:t>
            </a:r>
            <a:r>
              <a:rPr lang="en-US" sz="1400" dirty="0"/>
              <a:t>("{0} &gt; Exception: {1}", </a:t>
            </a:r>
            <a:r>
              <a:rPr lang="en-US" sz="1400" dirty="0" err="1"/>
              <a:t>DateTime.Now</a:t>
            </a:r>
            <a:r>
              <a:rPr lang="en-US" sz="1400" dirty="0"/>
              <a:t>, </a:t>
            </a:r>
            <a:r>
              <a:rPr lang="en-US" sz="1400" dirty="0" err="1"/>
              <a:t>exception.Message</a:t>
            </a:r>
            <a:r>
              <a:rPr lang="en-US" sz="1400" dirty="0"/>
              <a:t>);</a:t>
            </a:r>
          </a:p>
          <a:p>
            <a:pPr marL="0" indent="0">
              <a:spcBef>
                <a:spcPts val="0"/>
              </a:spcBef>
              <a:buNone/>
            </a:pPr>
            <a:r>
              <a:rPr lang="en-US" sz="1400" dirty="0"/>
              <a:t>            </a:t>
            </a:r>
            <a:r>
              <a:rPr lang="en-US" sz="1400" dirty="0" err="1"/>
              <a:t>Console.ResetColor</a:t>
            </a:r>
            <a:r>
              <a:rPr lang="en-US" sz="1400" dirty="0"/>
              <a:t>();</a:t>
            </a:r>
          </a:p>
          <a:p>
            <a:pPr marL="0" indent="0">
              <a:spcBef>
                <a:spcPts val="0"/>
              </a:spcBef>
              <a:buNone/>
            </a:pPr>
            <a:r>
              <a:rPr lang="en-US" sz="1400" dirty="0"/>
              <a:t>        }</a:t>
            </a:r>
          </a:p>
          <a:p>
            <a:pPr marL="0" indent="0">
              <a:spcBef>
                <a:spcPts val="0"/>
              </a:spcBef>
              <a:buNone/>
            </a:pPr>
            <a:endParaRPr lang="en-US" sz="1400" dirty="0"/>
          </a:p>
          <a:p>
            <a:pPr marL="0" indent="0">
              <a:spcBef>
                <a:spcPts val="0"/>
              </a:spcBef>
              <a:buNone/>
            </a:pPr>
            <a:r>
              <a:rPr lang="en-US" sz="1400" dirty="0"/>
              <a:t>        </a:t>
            </a:r>
            <a:r>
              <a:rPr lang="en-US" sz="1400" dirty="0" err="1"/>
              <a:t>Thread.Sleep</a:t>
            </a:r>
            <a:r>
              <a:rPr lang="en-US" sz="1400" dirty="0"/>
              <a:t>(200);</a:t>
            </a:r>
          </a:p>
          <a:p>
            <a:pPr marL="0" indent="0">
              <a:spcBef>
                <a:spcPts val="0"/>
              </a:spcBef>
              <a:buNone/>
            </a:pPr>
            <a:r>
              <a:rPr lang="en-US" sz="1400" dirty="0"/>
              <a:t>    }</a:t>
            </a:r>
          </a:p>
          <a:p>
            <a:pPr marL="0" indent="0">
              <a:spcBef>
                <a:spcPts val="0"/>
              </a:spcBef>
              <a:buNone/>
            </a:pPr>
            <a:r>
              <a:rPr lang="en-US" sz="1400" dirty="0"/>
              <a:t>}</a:t>
            </a:r>
          </a:p>
          <a:p>
            <a:pPr marL="0" indent="0">
              <a:buNone/>
            </a:pPr>
            <a:endParaRPr lang="en-US" sz="1176" dirty="0"/>
          </a:p>
        </p:txBody>
      </p:sp>
      <p:sp>
        <p:nvSpPr>
          <p:cNvPr id="17" name="Title 16"/>
          <p:cNvSpPr>
            <a:spLocks noGrp="1"/>
          </p:cNvSpPr>
          <p:nvPr>
            <p:ph type="title"/>
          </p:nvPr>
        </p:nvSpPr>
        <p:spPr/>
        <p:txBody>
          <a:bodyPr/>
          <a:lstStyle/>
          <a:p>
            <a:r>
              <a:rPr lang="en-US"/>
              <a:t>Event Hub Code</a:t>
            </a:r>
          </a:p>
        </p:txBody>
      </p:sp>
    </p:spTree>
    <p:extLst>
      <p:ext uri="{BB962C8B-B14F-4D97-AF65-F5344CB8AC3E}">
        <p14:creationId xmlns:p14="http://schemas.microsoft.com/office/powerpoint/2010/main" val="60738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798864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ervice Bus Explorer</a:t>
            </a:r>
          </a:p>
        </p:txBody>
      </p:sp>
      <p:pic>
        <p:nvPicPr>
          <p:cNvPr id="3" name="Picture 2"/>
          <p:cNvPicPr>
            <a:picLocks noChangeAspect="1"/>
          </p:cNvPicPr>
          <p:nvPr/>
        </p:nvPicPr>
        <p:blipFill>
          <a:blip r:embed="rId3"/>
          <a:stretch>
            <a:fillRect/>
          </a:stretch>
        </p:blipFill>
        <p:spPr>
          <a:xfrm>
            <a:off x="1076076" y="1008679"/>
            <a:ext cx="9795690" cy="5510076"/>
          </a:xfrm>
          <a:prstGeom prst="rect">
            <a:avLst/>
          </a:prstGeom>
        </p:spPr>
      </p:pic>
    </p:spTree>
    <p:extLst>
      <p:ext uri="{BB962C8B-B14F-4D97-AF65-F5344CB8AC3E}">
        <p14:creationId xmlns:p14="http://schemas.microsoft.com/office/powerpoint/2010/main" val="157003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Open Source publish-subscribe</a:t>
            </a:r>
          </a:p>
          <a:p>
            <a:r>
              <a:rPr lang="en-US"/>
              <a:t>One broker can handle 100’s of MB/sec from 1000’s of clients</a:t>
            </a:r>
          </a:p>
          <a:p>
            <a:r>
              <a:rPr lang="en-US"/>
              <a:t>Elastic scale</a:t>
            </a:r>
          </a:p>
          <a:p>
            <a:r>
              <a:rPr lang="en-US"/>
              <a:t>Cluster centric design for fault tolerance</a:t>
            </a:r>
          </a:p>
          <a:p>
            <a:endParaRPr lang="en-US"/>
          </a:p>
        </p:txBody>
      </p:sp>
      <p:sp>
        <p:nvSpPr>
          <p:cNvPr id="3" name="Title 2"/>
          <p:cNvSpPr>
            <a:spLocks noGrp="1"/>
          </p:cNvSpPr>
          <p:nvPr>
            <p:ph type="title"/>
          </p:nvPr>
        </p:nvSpPr>
        <p:spPr/>
        <p:txBody>
          <a:bodyPr/>
          <a:lstStyle/>
          <a:p>
            <a:r>
              <a:rPr lang="en-US"/>
              <a:t>Apache Kafk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1279" y="4260717"/>
            <a:ext cx="3276190" cy="2285714"/>
          </a:xfrm>
          <a:prstGeom prst="rect">
            <a:avLst/>
          </a:prstGeom>
        </p:spPr>
      </p:pic>
    </p:spTree>
    <p:extLst>
      <p:ext uri="{BB962C8B-B14F-4D97-AF65-F5344CB8AC3E}">
        <p14:creationId xmlns:p14="http://schemas.microsoft.com/office/powerpoint/2010/main" val="2781613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379335"/>
          </a:xfrm>
        </p:spPr>
        <p:txBody>
          <a:bodyPr/>
          <a:lstStyle/>
          <a:p>
            <a:endParaRPr lang="en-US" dirty="0"/>
          </a:p>
          <a:p>
            <a:r>
              <a:rPr lang="en-US" dirty="0"/>
              <a:t>Topic: Category or feed name</a:t>
            </a:r>
          </a:p>
          <a:p>
            <a:r>
              <a:rPr lang="en-US" dirty="0"/>
              <a:t>Log: partition within a topic</a:t>
            </a:r>
          </a:p>
          <a:p>
            <a:endParaRPr lang="en-US" dirty="0"/>
          </a:p>
          <a:p>
            <a:endParaRPr lang="en-US" dirty="0"/>
          </a:p>
        </p:txBody>
      </p:sp>
      <p:sp>
        <p:nvSpPr>
          <p:cNvPr id="3" name="Title 2"/>
          <p:cNvSpPr>
            <a:spLocks noGrp="1"/>
          </p:cNvSpPr>
          <p:nvPr>
            <p:ph type="title"/>
          </p:nvPr>
        </p:nvSpPr>
        <p:spPr/>
        <p:txBody>
          <a:bodyPr/>
          <a:lstStyle/>
          <a:p>
            <a:r>
              <a:rPr lang="en-US"/>
              <a:t>Topics and Logs</a:t>
            </a:r>
          </a:p>
        </p:txBody>
      </p:sp>
      <p:pic>
        <p:nvPicPr>
          <p:cNvPr id="4" name="Picture 3"/>
          <p:cNvPicPr>
            <a:picLocks noChangeAspect="1"/>
          </p:cNvPicPr>
          <p:nvPr/>
        </p:nvPicPr>
        <p:blipFill>
          <a:blip r:embed="rId3"/>
          <a:stretch>
            <a:fillRect/>
          </a:stretch>
        </p:blipFill>
        <p:spPr>
          <a:xfrm>
            <a:off x="6006359" y="3249717"/>
            <a:ext cx="5178695" cy="3323826"/>
          </a:xfrm>
          <a:prstGeom prst="rect">
            <a:avLst/>
          </a:prstGeom>
        </p:spPr>
      </p:pic>
    </p:spTree>
    <p:extLst>
      <p:ext uri="{BB962C8B-B14F-4D97-AF65-F5344CB8AC3E}">
        <p14:creationId xmlns:p14="http://schemas.microsoft.com/office/powerpoint/2010/main" val="27333203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6324184"/>
          </a:xfrm>
        </p:spPr>
        <p:txBody>
          <a:bodyPr/>
          <a:lstStyle/>
          <a:p>
            <a:r>
              <a:rPr lang="en-US" dirty="0"/>
              <a:t>Partitions are distributed over configurable number of servers     (1 leader and n followers)</a:t>
            </a:r>
          </a:p>
          <a:p>
            <a:r>
              <a:rPr lang="en-US" dirty="0"/>
              <a:t>Producer is responsible for assigning messages to partitions</a:t>
            </a:r>
          </a:p>
          <a:p>
            <a:pPr lvl="1"/>
            <a:r>
              <a:rPr lang="en-US" dirty="0"/>
              <a:t>Round robin</a:t>
            </a:r>
          </a:p>
          <a:p>
            <a:pPr lvl="1"/>
            <a:r>
              <a:rPr lang="en-US" dirty="0"/>
              <a:t>Semantic partition function</a:t>
            </a:r>
          </a:p>
          <a:p>
            <a:pPr lvl="1"/>
            <a:endParaRPr lang="en-US" dirty="0"/>
          </a:p>
          <a:p>
            <a:r>
              <a:rPr lang="en-US" dirty="0"/>
              <a:t>Each consumer belongs to a consumer group</a:t>
            </a:r>
          </a:p>
          <a:p>
            <a:r>
              <a:rPr lang="en-US" dirty="0"/>
              <a:t>Each partition can have multiple consumer groups</a:t>
            </a:r>
          </a:p>
          <a:p>
            <a:endParaRPr lang="en-US" dirty="0"/>
          </a:p>
          <a:p>
            <a:endParaRPr lang="en-US" dirty="0"/>
          </a:p>
        </p:txBody>
      </p:sp>
      <p:sp>
        <p:nvSpPr>
          <p:cNvPr id="3" name="Title 2"/>
          <p:cNvSpPr>
            <a:spLocks noGrp="1"/>
          </p:cNvSpPr>
          <p:nvPr>
            <p:ph type="title"/>
          </p:nvPr>
        </p:nvSpPr>
        <p:spPr/>
        <p:txBody>
          <a:bodyPr/>
          <a:lstStyle/>
          <a:p>
            <a:r>
              <a:rPr lang="en-US"/>
              <a:t>Distribution, Producers &amp; Consumers</a:t>
            </a:r>
          </a:p>
        </p:txBody>
      </p:sp>
      <p:pic>
        <p:nvPicPr>
          <p:cNvPr id="4" name="Picture 3"/>
          <p:cNvPicPr>
            <a:picLocks noChangeAspect="1"/>
          </p:cNvPicPr>
          <p:nvPr/>
        </p:nvPicPr>
        <p:blipFill>
          <a:blip r:embed="rId3"/>
          <a:stretch>
            <a:fillRect/>
          </a:stretch>
        </p:blipFill>
        <p:spPr>
          <a:xfrm>
            <a:off x="8337038" y="3064761"/>
            <a:ext cx="3197568" cy="1699973"/>
          </a:xfrm>
          <a:prstGeom prst="rect">
            <a:avLst/>
          </a:prstGeom>
        </p:spPr>
      </p:pic>
    </p:spTree>
    <p:extLst>
      <p:ext uri="{BB962C8B-B14F-4D97-AF65-F5344CB8AC3E}">
        <p14:creationId xmlns:p14="http://schemas.microsoft.com/office/powerpoint/2010/main" val="19639458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endParaRPr lang="en-US"/>
          </a:p>
          <a:p>
            <a:r>
              <a:rPr lang="en-US">
                <a:hlinkClick r:id="rId2"/>
              </a:rPr>
              <a:t>http://kafka.apache.org/</a:t>
            </a:r>
            <a:endParaRPr lang="en-US"/>
          </a:p>
          <a:p>
            <a:pPr lvl="1"/>
            <a:r>
              <a:rPr lang="en-US"/>
              <a:t>Use Cases</a:t>
            </a:r>
          </a:p>
          <a:p>
            <a:pPr lvl="1"/>
            <a:r>
              <a:rPr lang="en-US"/>
              <a:t>Documentation</a:t>
            </a:r>
          </a:p>
          <a:p>
            <a:pPr lvl="1"/>
            <a:r>
              <a:rPr lang="en-US"/>
              <a:t>Architectures</a:t>
            </a:r>
          </a:p>
          <a:p>
            <a:pPr lvl="1"/>
            <a:r>
              <a:rPr lang="en-US"/>
              <a:t>Configurations</a:t>
            </a:r>
          </a:p>
          <a:p>
            <a:pPr lvl="1"/>
            <a:r>
              <a:rPr lang="en-US"/>
              <a:t>Ecosystem</a:t>
            </a:r>
          </a:p>
          <a:p>
            <a:pPr lvl="1"/>
            <a:r>
              <a:rPr lang="en-US"/>
              <a:t>etc.</a:t>
            </a:r>
          </a:p>
          <a:p>
            <a:endParaRPr lang="en-US"/>
          </a:p>
          <a:p>
            <a:endParaRPr lang="en-US"/>
          </a:p>
        </p:txBody>
      </p:sp>
      <p:sp>
        <p:nvSpPr>
          <p:cNvPr id="3" name="Title 2"/>
          <p:cNvSpPr>
            <a:spLocks noGrp="1"/>
          </p:cNvSpPr>
          <p:nvPr>
            <p:ph type="title"/>
          </p:nvPr>
        </p:nvSpPr>
        <p:spPr/>
        <p:txBody>
          <a:bodyPr/>
          <a:lstStyle/>
          <a:p>
            <a:r>
              <a:rPr lang="en-US"/>
              <a:t>More information on Kafka	</a:t>
            </a:r>
          </a:p>
        </p:txBody>
      </p:sp>
    </p:spTree>
    <p:extLst>
      <p:ext uri="{BB962C8B-B14F-4D97-AF65-F5344CB8AC3E}">
        <p14:creationId xmlns:p14="http://schemas.microsoft.com/office/powerpoint/2010/main" val="15075284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9102152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678171"/>
            <a:ext cx="5289841" cy="4721793"/>
          </a:xfrm>
        </p:spPr>
        <p:txBody>
          <a:bodyPr>
            <a:normAutofit fontScale="85000" lnSpcReduction="20000"/>
          </a:bodyPr>
          <a:lstStyle/>
          <a:p>
            <a:r>
              <a:rPr lang="en-US" dirty="0"/>
              <a:t>Nimbus</a:t>
            </a:r>
          </a:p>
          <a:p>
            <a:pPr lvl="1"/>
            <a:r>
              <a:rPr lang="en-US" dirty="0"/>
              <a:t>Master Node</a:t>
            </a:r>
          </a:p>
          <a:p>
            <a:pPr lvl="1"/>
            <a:r>
              <a:rPr lang="en-US" dirty="0"/>
              <a:t>Responsible for distributing code around the cluster, assigning tasks to machines, and monitoring for failures</a:t>
            </a:r>
          </a:p>
          <a:p>
            <a:r>
              <a:rPr lang="en-US" dirty="0"/>
              <a:t>Supervisor</a:t>
            </a:r>
          </a:p>
          <a:p>
            <a:pPr lvl="1"/>
            <a:r>
              <a:rPr lang="en-US" dirty="0"/>
              <a:t>Worker Node</a:t>
            </a:r>
          </a:p>
          <a:p>
            <a:pPr lvl="1"/>
            <a:r>
              <a:rPr lang="en-US" dirty="0"/>
              <a:t>Listens for work assigned to its machine and starts and stops worker processes</a:t>
            </a:r>
          </a:p>
          <a:p>
            <a:pPr lvl="1"/>
            <a:r>
              <a:rPr lang="en-US" dirty="0"/>
              <a:t>worker process executes a subset of a topology</a:t>
            </a:r>
          </a:p>
        </p:txBody>
      </p:sp>
      <p:pic>
        <p:nvPicPr>
          <p:cNvPr id="3" name="Picture 2"/>
          <p:cNvPicPr>
            <a:picLocks noChangeAspect="1"/>
          </p:cNvPicPr>
          <p:nvPr/>
        </p:nvPicPr>
        <p:blipFill>
          <a:blip r:embed="rId3"/>
          <a:stretch>
            <a:fillRect/>
          </a:stretch>
        </p:blipFill>
        <p:spPr>
          <a:xfrm>
            <a:off x="6089779" y="1337393"/>
            <a:ext cx="5311476" cy="4298976"/>
          </a:xfrm>
          <a:prstGeom prst="rect">
            <a:avLst/>
          </a:prstGeom>
        </p:spPr>
      </p:pic>
    </p:spTree>
    <p:extLst>
      <p:ext uri="{BB962C8B-B14F-4D97-AF65-F5344CB8AC3E}">
        <p14:creationId xmlns:p14="http://schemas.microsoft.com/office/powerpoint/2010/main" val="12454355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706185"/>
            <a:ext cx="4997258" cy="4765369"/>
          </a:xfrm>
        </p:spPr>
        <p:txBody>
          <a:bodyPr>
            <a:normAutofit fontScale="70000" lnSpcReduction="20000"/>
          </a:bodyPr>
          <a:lstStyle/>
          <a:p>
            <a:r>
              <a:rPr lang="en-US" dirty="0"/>
              <a:t>Topology</a:t>
            </a:r>
          </a:p>
          <a:p>
            <a:pPr lvl="1"/>
            <a:r>
              <a:rPr lang="en-US" dirty="0"/>
              <a:t>Defines a graph of computation that processes streams of data. Unlike MapReduce jobs, topologies run until you stop them.</a:t>
            </a:r>
          </a:p>
          <a:p>
            <a:r>
              <a:rPr lang="en-US" dirty="0"/>
              <a:t>Spout</a:t>
            </a:r>
          </a:p>
          <a:p>
            <a:pPr lvl="1"/>
            <a:r>
              <a:rPr lang="en-US" dirty="0"/>
              <a:t>Consumes data from a data source and emits one or more streams.</a:t>
            </a:r>
          </a:p>
          <a:p>
            <a:r>
              <a:rPr lang="en-US" dirty="0"/>
              <a:t>Bolt</a:t>
            </a:r>
          </a:p>
          <a:p>
            <a:pPr lvl="1"/>
            <a:r>
              <a:rPr lang="en-US" dirty="0"/>
              <a:t>Consumes streams, performs processing, and may emit streams for further processing. </a:t>
            </a:r>
          </a:p>
          <a:p>
            <a:pPr lvl="1"/>
            <a:r>
              <a:rPr lang="en-US" dirty="0"/>
              <a:t>Responsible for writing data to external storage, HDInsight HBase, a blob, or other data store</a:t>
            </a:r>
          </a:p>
          <a:p>
            <a:pPr lvl="1"/>
            <a:endParaRPr lang="en-US" dirty="0"/>
          </a:p>
          <a:p>
            <a:pPr marL="457112" lvl="1" indent="0">
              <a:buNone/>
            </a:pPr>
            <a:endParaRPr lang="en-US" dirty="0"/>
          </a:p>
        </p:txBody>
      </p:sp>
      <p:pic>
        <p:nvPicPr>
          <p:cNvPr id="3" name="Picture 2"/>
          <p:cNvPicPr>
            <a:picLocks noChangeAspect="1"/>
          </p:cNvPicPr>
          <p:nvPr/>
        </p:nvPicPr>
        <p:blipFill>
          <a:blip r:embed="rId3"/>
          <a:stretch>
            <a:fillRect/>
          </a:stretch>
        </p:blipFill>
        <p:spPr>
          <a:xfrm>
            <a:off x="5707961" y="1389966"/>
            <a:ext cx="5643540" cy="4345996"/>
          </a:xfrm>
          <a:prstGeom prst="rect">
            <a:avLst/>
          </a:prstGeom>
        </p:spPr>
      </p:pic>
    </p:spTree>
    <p:extLst>
      <p:ext uri="{BB962C8B-B14F-4D97-AF65-F5344CB8AC3E}">
        <p14:creationId xmlns:p14="http://schemas.microsoft.com/office/powerpoint/2010/main" val="93899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Topology</a:t>
            </a:r>
          </a:p>
        </p:txBody>
      </p:sp>
      <p:sp>
        <p:nvSpPr>
          <p:cNvPr id="5" name="Text Placeholder 2"/>
          <p:cNvSpPr>
            <a:spLocks noGrp="1"/>
          </p:cNvSpPr>
          <p:nvPr>
            <p:ph type="body" sz="quarter" idx="4294967295"/>
          </p:nvPr>
        </p:nvSpPr>
        <p:spPr>
          <a:xfrm>
            <a:off x="1" y="2174629"/>
            <a:ext cx="4997258" cy="4765369"/>
          </a:xfrm>
        </p:spPr>
        <p:txBody>
          <a:bodyPr>
            <a:normAutofit/>
          </a:bodyPr>
          <a:lstStyle/>
          <a:p>
            <a:r>
              <a:rPr lang="en-US" dirty="0"/>
              <a:t>Objects Needed</a:t>
            </a:r>
          </a:p>
          <a:p>
            <a:pPr lvl="1"/>
            <a:r>
              <a:rPr lang="en-US" dirty="0" err="1"/>
              <a:t>TopologyBuilder</a:t>
            </a:r>
            <a:endParaRPr lang="en-US" dirty="0"/>
          </a:p>
          <a:p>
            <a:pPr lvl="1"/>
            <a:r>
              <a:rPr lang="en-US" dirty="0" err="1"/>
              <a:t>setSpout</a:t>
            </a:r>
            <a:r>
              <a:rPr lang="en-US" dirty="0"/>
              <a:t>/</a:t>
            </a:r>
            <a:r>
              <a:rPr lang="en-US" dirty="0" err="1"/>
              <a:t>setBolt</a:t>
            </a:r>
            <a:endParaRPr lang="en-US" dirty="0"/>
          </a:p>
          <a:p>
            <a:pPr lvl="2"/>
            <a:r>
              <a:rPr lang="en-US" dirty="0" err="1"/>
              <a:t>Shufflegrouping</a:t>
            </a:r>
            <a:endParaRPr lang="en-US" dirty="0"/>
          </a:p>
          <a:p>
            <a:pPr lvl="1"/>
            <a:r>
              <a:rPr lang="en-US" dirty="0"/>
              <a:t>Cluster config</a:t>
            </a:r>
          </a:p>
          <a:p>
            <a:pPr lvl="1"/>
            <a:r>
              <a:rPr lang="en-US" dirty="0"/>
              <a:t>Cluster</a:t>
            </a:r>
          </a:p>
          <a:p>
            <a:pPr lvl="1"/>
            <a:endParaRPr lang="en-US" dirty="0"/>
          </a:p>
          <a:p>
            <a:pPr lvl="1"/>
            <a:endParaRPr lang="en-US" dirty="0"/>
          </a:p>
          <a:p>
            <a:pPr marL="457112" lvl="1" indent="0">
              <a:buNone/>
            </a:pPr>
            <a:endParaRPr lang="en-US" dirty="0"/>
          </a:p>
        </p:txBody>
      </p:sp>
      <p:pic>
        <p:nvPicPr>
          <p:cNvPr id="6" name="Picture 5"/>
          <p:cNvPicPr>
            <a:picLocks noChangeAspect="1"/>
          </p:cNvPicPr>
          <p:nvPr/>
        </p:nvPicPr>
        <p:blipFill>
          <a:blip r:embed="rId3"/>
          <a:stretch>
            <a:fillRect/>
          </a:stretch>
        </p:blipFill>
        <p:spPr>
          <a:xfrm>
            <a:off x="6334098" y="128655"/>
            <a:ext cx="4914223" cy="4444314"/>
          </a:xfrm>
          <a:prstGeom prst="rect">
            <a:avLst/>
          </a:prstGeom>
        </p:spPr>
      </p:pic>
      <p:pic>
        <p:nvPicPr>
          <p:cNvPr id="7" name="Picture 6"/>
          <p:cNvPicPr>
            <a:picLocks noChangeAspect="1"/>
          </p:cNvPicPr>
          <p:nvPr/>
        </p:nvPicPr>
        <p:blipFill>
          <a:blip r:embed="rId4"/>
          <a:stretch>
            <a:fillRect/>
          </a:stretch>
        </p:blipFill>
        <p:spPr>
          <a:xfrm>
            <a:off x="6334098" y="4572969"/>
            <a:ext cx="4389127" cy="2284545"/>
          </a:xfrm>
          <a:prstGeom prst="rect">
            <a:avLst/>
          </a:prstGeom>
        </p:spPr>
      </p:pic>
      <p:sp>
        <p:nvSpPr>
          <p:cNvPr id="2" name="TextBox 1"/>
          <p:cNvSpPr txBox="1"/>
          <p:nvPr/>
        </p:nvSpPr>
        <p:spPr>
          <a:xfrm>
            <a:off x="10723225" y="112265"/>
            <a:ext cx="1440118" cy="4628481"/>
          </a:xfrm>
          <a:prstGeom prst="rect">
            <a:avLst/>
          </a:prstGeom>
          <a:solidFill>
            <a:schemeClr val="bg1"/>
          </a:solidFill>
        </p:spPr>
        <p:txBody>
          <a:bodyPr wrap="square" lIns="179285" tIns="143428" rIns="179285" bIns="143428" rtlCol="0">
            <a:spAutoFit/>
          </a:bodyPr>
          <a:lstStyle/>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40633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Spou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dirty="0"/>
              <a:t>Spout</a:t>
            </a:r>
          </a:p>
          <a:p>
            <a:pPr lvl="1"/>
            <a:r>
              <a:rPr lang="en-US" dirty="0"/>
              <a:t>Consumes data from a data source and emits one or more streams.</a:t>
            </a:r>
          </a:p>
          <a:p>
            <a:pPr lvl="1"/>
            <a:endParaRPr lang="en-US" dirty="0"/>
          </a:p>
          <a:p>
            <a:pPr marL="457112" lvl="1" indent="0">
              <a:buNone/>
            </a:pPr>
            <a:endParaRPr lang="en-US" dirty="0"/>
          </a:p>
        </p:txBody>
      </p:sp>
      <p:pic>
        <p:nvPicPr>
          <p:cNvPr id="2" name="Picture 1"/>
          <p:cNvPicPr>
            <a:picLocks noChangeAspect="1"/>
          </p:cNvPicPr>
          <p:nvPr/>
        </p:nvPicPr>
        <p:blipFill>
          <a:blip r:embed="rId3"/>
          <a:stretch>
            <a:fillRect/>
          </a:stretch>
        </p:blipFill>
        <p:spPr>
          <a:xfrm>
            <a:off x="5612211" y="201906"/>
            <a:ext cx="5324430" cy="6585170"/>
          </a:xfrm>
          <a:prstGeom prst="rect">
            <a:avLst/>
          </a:prstGeom>
        </p:spPr>
      </p:pic>
    </p:spTree>
    <p:extLst>
      <p:ext uri="{BB962C8B-B14F-4D97-AF65-F5344CB8AC3E}">
        <p14:creationId xmlns:p14="http://schemas.microsoft.com/office/powerpoint/2010/main" val="621012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65885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Bol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a:t>Bolt</a:t>
            </a:r>
          </a:p>
          <a:p>
            <a:pPr lvl="1"/>
            <a:r>
              <a:rPr lang="en-US"/>
              <a:t>Consumes streams, performs processing, and may emit streams for further processing. </a:t>
            </a:r>
          </a:p>
          <a:p>
            <a:pPr lvl="1"/>
            <a:r>
              <a:rPr lang="en-US"/>
              <a:t>Responsible for writing data to external storage, HDInsight </a:t>
            </a:r>
            <a:r>
              <a:rPr lang="en-US" err="1"/>
              <a:t>HBase</a:t>
            </a:r>
            <a:r>
              <a:rPr lang="en-US"/>
              <a:t>, a blob, or other data store</a:t>
            </a:r>
          </a:p>
          <a:p>
            <a:pPr lvl="1"/>
            <a:endParaRPr lang="en-US"/>
          </a:p>
          <a:p>
            <a:pPr marL="457112" lvl="1" indent="0">
              <a:buNone/>
            </a:pPr>
            <a:endParaRPr lang="en-US"/>
          </a:p>
        </p:txBody>
      </p:sp>
      <p:pic>
        <p:nvPicPr>
          <p:cNvPr id="6" name="Picture 5"/>
          <p:cNvPicPr>
            <a:picLocks noChangeAspect="1"/>
          </p:cNvPicPr>
          <p:nvPr/>
        </p:nvPicPr>
        <p:blipFill>
          <a:blip r:embed="rId3"/>
          <a:stretch>
            <a:fillRect/>
          </a:stretch>
        </p:blipFill>
        <p:spPr>
          <a:xfrm>
            <a:off x="5558152" y="230818"/>
            <a:ext cx="6060205" cy="6396365"/>
          </a:xfrm>
          <a:prstGeom prst="rect">
            <a:avLst/>
          </a:prstGeom>
        </p:spPr>
      </p:pic>
    </p:spTree>
    <p:extLst>
      <p:ext uri="{BB962C8B-B14F-4D97-AF65-F5344CB8AC3E}">
        <p14:creationId xmlns:p14="http://schemas.microsoft.com/office/powerpoint/2010/main" val="3435515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4533321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46934" y="1122960"/>
            <a:ext cx="11465406" cy="5443493"/>
          </a:xfrm>
        </p:spPr>
        <p:txBody>
          <a:bodyPr/>
          <a:lstStyle/>
          <a:p>
            <a:r>
              <a:rPr lang="en-US"/>
              <a:t>Simple Real Time ETL (movement of Data)</a:t>
            </a:r>
          </a:p>
          <a:p>
            <a:r>
              <a:rPr lang="en-US"/>
              <a:t>Rapid development</a:t>
            </a:r>
          </a:p>
          <a:p>
            <a:r>
              <a:rPr lang="en-US"/>
              <a:t>SQL based syntax</a:t>
            </a:r>
          </a:p>
          <a:p>
            <a:r>
              <a:rPr lang="en-US"/>
              <a:t>Automatic distribution for scale, performance and resiliency</a:t>
            </a:r>
          </a:p>
          <a:p>
            <a:r>
              <a:rPr lang="en-US"/>
              <a:t>Compares multiple streams, detects anomalies</a:t>
            </a:r>
          </a:p>
          <a:p>
            <a:r>
              <a:rPr lang="en-US"/>
              <a:t>Triggers alerts</a:t>
            </a:r>
          </a:p>
          <a:p>
            <a:r>
              <a:rPr lang="en-US"/>
              <a:t>Displays real time dashboards</a:t>
            </a:r>
          </a:p>
          <a:p>
            <a:endParaRPr lang="en-US"/>
          </a:p>
        </p:txBody>
      </p:sp>
      <p:sp>
        <p:nvSpPr>
          <p:cNvPr id="17" name="Title 16"/>
          <p:cNvSpPr>
            <a:spLocks noGrp="1"/>
          </p:cNvSpPr>
          <p:nvPr>
            <p:ph type="title"/>
          </p:nvPr>
        </p:nvSpPr>
        <p:spPr/>
        <p:txBody>
          <a:bodyPr/>
          <a:lstStyle/>
          <a:p>
            <a:r>
              <a:rPr lang="en-US"/>
              <a:t>Stream Analytics</a:t>
            </a:r>
          </a:p>
        </p:txBody>
      </p:sp>
      <p:pic>
        <p:nvPicPr>
          <p:cNvPr id="2" name="Picture 1"/>
          <p:cNvPicPr>
            <a:picLocks noChangeAspect="1"/>
          </p:cNvPicPr>
          <p:nvPr/>
        </p:nvPicPr>
        <p:blipFill>
          <a:blip r:embed="rId3"/>
          <a:stretch>
            <a:fillRect/>
          </a:stretch>
        </p:blipFill>
        <p:spPr>
          <a:xfrm>
            <a:off x="9255249" y="352504"/>
            <a:ext cx="2648697" cy="1786396"/>
          </a:xfrm>
          <a:prstGeom prst="rect">
            <a:avLst/>
          </a:prstGeom>
        </p:spPr>
      </p:pic>
    </p:spTree>
    <p:extLst>
      <p:ext uri="{BB962C8B-B14F-4D97-AF65-F5344CB8AC3E}">
        <p14:creationId xmlns:p14="http://schemas.microsoft.com/office/powerpoint/2010/main" val="281260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8144" y="1089543"/>
            <a:ext cx="11823971" cy="5594006"/>
          </a:xfrm>
        </p:spPr>
        <p:txBody>
          <a:bodyPr/>
          <a:lstStyle/>
          <a:p>
            <a:r>
              <a:rPr lang="en-US" dirty="0"/>
              <a:t>Consumer Groups</a:t>
            </a:r>
          </a:p>
          <a:p>
            <a:pPr lvl="1"/>
            <a:r>
              <a:rPr lang="en-US" sz="1765" dirty="0"/>
              <a:t>One per input</a:t>
            </a:r>
          </a:p>
          <a:p>
            <a:r>
              <a:rPr lang="en-US" dirty="0"/>
              <a:t>Inputs</a:t>
            </a:r>
          </a:p>
          <a:p>
            <a:pPr lvl="1"/>
            <a:r>
              <a:rPr lang="en-US" sz="1765" dirty="0"/>
              <a:t>Blob storage</a:t>
            </a:r>
          </a:p>
          <a:p>
            <a:pPr lvl="1"/>
            <a:r>
              <a:rPr lang="en-US" sz="1765" dirty="0"/>
              <a:t>Event Hubs</a:t>
            </a:r>
          </a:p>
          <a:p>
            <a:pPr lvl="1"/>
            <a:r>
              <a:rPr lang="en-US" sz="1765" dirty="0"/>
              <a:t>IoT Hubs</a:t>
            </a:r>
          </a:p>
          <a:p>
            <a:r>
              <a:rPr lang="en-US" dirty="0"/>
              <a:t>Query</a:t>
            </a:r>
          </a:p>
          <a:p>
            <a:pPr lvl="1"/>
            <a:r>
              <a:rPr lang="en-US" sz="1765" dirty="0"/>
              <a:t>SQL-Like Language  - </a:t>
            </a:r>
            <a:r>
              <a:rPr lang="en-US" sz="1765" dirty="0">
                <a:hlinkClick r:id="rId3"/>
              </a:rPr>
              <a:t>https://azure.microsoft.com/en-us/documentation/articles/stream-analytics-stream-analytics-query-patterns/</a:t>
            </a:r>
            <a:r>
              <a:rPr lang="en-US" sz="1765" dirty="0"/>
              <a:t> </a:t>
            </a:r>
          </a:p>
          <a:p>
            <a:r>
              <a:rPr lang="en-US" dirty="0"/>
              <a:t>Outputs</a:t>
            </a:r>
          </a:p>
          <a:p>
            <a:pPr lvl="1"/>
            <a:r>
              <a:rPr lang="en-US" sz="1765" dirty="0"/>
              <a:t>Azure Data Lake Store</a:t>
            </a:r>
          </a:p>
          <a:p>
            <a:pPr lvl="1"/>
            <a:r>
              <a:rPr lang="en-US" sz="1765" dirty="0"/>
              <a:t>SQL DB</a:t>
            </a:r>
          </a:p>
          <a:p>
            <a:pPr lvl="1"/>
            <a:r>
              <a:rPr lang="en-US" sz="1765" dirty="0"/>
              <a:t>Blob storage</a:t>
            </a:r>
          </a:p>
        </p:txBody>
      </p:sp>
      <p:sp>
        <p:nvSpPr>
          <p:cNvPr id="17" name="Title 16"/>
          <p:cNvSpPr>
            <a:spLocks noGrp="1"/>
          </p:cNvSpPr>
          <p:nvPr>
            <p:ph type="title"/>
          </p:nvPr>
        </p:nvSpPr>
        <p:spPr/>
        <p:txBody>
          <a:bodyPr/>
          <a:lstStyle/>
          <a:p>
            <a:r>
              <a:rPr lang="en-US"/>
              <a:t>Anatomy</a:t>
            </a:r>
          </a:p>
        </p:txBody>
      </p:sp>
      <p:sp>
        <p:nvSpPr>
          <p:cNvPr id="3" name="Rectangle 2"/>
          <p:cNvSpPr/>
          <p:nvPr/>
        </p:nvSpPr>
        <p:spPr>
          <a:xfrm>
            <a:off x="3025681" y="5634027"/>
            <a:ext cx="27788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latin typeface="Segoe UI Light" panose="020B0502040204020203" pitchFamily="34" charset="0"/>
                <a:cs typeface="Segoe UI Light" panose="020B0502040204020203" pitchFamily="34" charset="0"/>
              </a:rPr>
              <a:t>Event Hub</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PowerBI</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Table Storage</a:t>
            </a:r>
          </a:p>
        </p:txBody>
      </p:sp>
      <p:sp>
        <p:nvSpPr>
          <p:cNvPr id="4" name="Rectangle 3"/>
          <p:cNvSpPr/>
          <p:nvPr/>
        </p:nvSpPr>
        <p:spPr>
          <a:xfrm>
            <a:off x="5266718" y="5634027"/>
            <a:ext cx="34057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Queues</a:t>
            </a: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Topics</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DocumentDB</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1868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tream Analytics Sample Query</a:t>
            </a:r>
          </a:p>
        </p:txBody>
      </p:sp>
      <p:pic>
        <p:nvPicPr>
          <p:cNvPr id="4" name="Picture 3"/>
          <p:cNvPicPr>
            <a:picLocks noChangeAspect="1"/>
          </p:cNvPicPr>
          <p:nvPr/>
        </p:nvPicPr>
        <p:blipFill>
          <a:blip r:embed="rId3"/>
          <a:stretch>
            <a:fillRect/>
          </a:stretch>
        </p:blipFill>
        <p:spPr>
          <a:xfrm>
            <a:off x="1255359" y="1189494"/>
            <a:ext cx="8629999" cy="5615631"/>
          </a:xfrm>
          <a:prstGeom prst="rect">
            <a:avLst/>
          </a:prstGeom>
        </p:spPr>
      </p:pic>
    </p:spTree>
    <p:extLst>
      <p:ext uri="{BB962C8B-B14F-4D97-AF65-F5344CB8AC3E}">
        <p14:creationId xmlns:p14="http://schemas.microsoft.com/office/powerpoint/2010/main" val="175334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 y="487"/>
            <a:ext cx="5199576" cy="6857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1" name="Text Placeholder 3"/>
          <p:cNvSpPr txBox="1">
            <a:spLocks noGrp="1"/>
          </p:cNvSpPr>
          <p:nvPr>
            <p:ph type="body" sz="quarter" idx="11"/>
          </p:nvPr>
        </p:nvSpPr>
        <p:spPr>
          <a:xfrm>
            <a:off x="5925833" y="609584"/>
            <a:ext cx="3221915" cy="1638374"/>
          </a:xfrm>
          <a:prstGeom prst="rect">
            <a:avLst/>
          </a:prstGeom>
          <a:noFill/>
        </p:spPr>
        <p:txBody>
          <a:bodyPr vert="horz" wrap="square" lIns="0" tIns="0" rIns="0" bIns="0" numCol="1" rtlCol="0" anchor="t" anchorCtr="0" compatLnSpc="1">
            <a:prstTxWarp prst="textNoShape">
              <a:avLst/>
            </a:prstTxWarp>
            <a:spAutoFit/>
          </a:bodyPr>
          <a:lstStyle/>
          <a:p>
            <a:pPr defTabSz="914225"/>
            <a:r>
              <a:rPr lang="EN-US" sz="1765" b="1" spc="-71">
                <a:gradFill>
                  <a:gsLst>
                    <a:gs pos="2917">
                      <a:schemeClr val="tx1"/>
                    </a:gs>
                    <a:gs pos="30000">
                      <a:schemeClr val="tx1"/>
                    </a:gs>
                  </a:gsLst>
                  <a:lin ang="5400000" scaled="0"/>
                </a:gradFill>
                <a:latin typeface="+mn-lt"/>
              </a:rPr>
              <a:t>D</a:t>
            </a:r>
            <a:r>
              <a:rPr lang="en-US" sz="1765" b="1" spc="-71">
                <a:gradFill>
                  <a:gsLst>
                    <a:gs pos="2917">
                      <a:schemeClr val="tx1"/>
                    </a:gs>
                    <a:gs pos="30000">
                      <a:schemeClr val="tx1"/>
                    </a:gs>
                  </a:gsLst>
                  <a:lin ang="5400000" scaled="0"/>
                </a:gradFill>
                <a:latin typeface="+mn-lt"/>
              </a:rPr>
              <a:t>ata Manipulation</a:t>
            </a:r>
            <a:endParaRPr lang="EN-US" sz="1765" b="1" spc="-71">
              <a:gradFill>
                <a:gsLst>
                  <a:gs pos="2917">
                    <a:schemeClr val="tx1"/>
                  </a:gs>
                  <a:gs pos="30000">
                    <a:schemeClr val="tx1"/>
                  </a:gs>
                </a:gsLst>
                <a:lin ang="5400000" scaled="0"/>
              </a:gradFill>
              <a:latin typeface="+mn-lt"/>
            </a:endParaRPr>
          </a:p>
          <a:p>
            <a:pPr defTabSz="914225"/>
            <a:r>
              <a:rPr lang="EN-US" sz="1176">
                <a:solidFill>
                  <a:srgbClr val="7030A0"/>
                </a:solidFill>
                <a:latin typeface="Consolas"/>
                <a:cs typeface="+mn-cs"/>
              </a:rPr>
              <a:t>SELECT, FROM, WHERE GROUP</a:t>
            </a:r>
          </a:p>
          <a:p>
            <a:pPr defTabSz="914225"/>
            <a:r>
              <a:rPr lang="EN-US" sz="1176">
                <a:solidFill>
                  <a:srgbClr val="7030A0"/>
                </a:solidFill>
                <a:latin typeface="Consolas"/>
                <a:cs typeface="+mn-cs"/>
              </a:rPr>
              <a:t>BY, HAVING, CASE WHEN THEN </a:t>
            </a:r>
          </a:p>
          <a:p>
            <a:pPr defTabSz="914225"/>
            <a:r>
              <a:rPr lang="EN-US" sz="1176">
                <a:solidFill>
                  <a:srgbClr val="7030A0"/>
                </a:solidFill>
                <a:latin typeface="Consolas"/>
                <a:cs typeface="+mn-cs"/>
              </a:rPr>
              <a:t>ELSE, INNER/LEFT OUTER </a:t>
            </a:r>
          </a:p>
          <a:p>
            <a:pPr defTabSz="914225"/>
            <a:r>
              <a:rPr lang="EN-US" sz="1176">
                <a:solidFill>
                  <a:srgbClr val="7030A0"/>
                </a:solidFill>
                <a:latin typeface="Consolas"/>
                <a:cs typeface="+mn-cs"/>
              </a:rPr>
              <a:t>JOIN, UNION, CROSS/OUTER</a:t>
            </a:r>
          </a:p>
          <a:p>
            <a:pPr defTabSz="914225"/>
            <a:r>
              <a:rPr lang="EN-US" sz="1176">
                <a:solidFill>
                  <a:srgbClr val="7030A0"/>
                </a:solidFill>
                <a:latin typeface="Consolas"/>
                <a:cs typeface="+mn-cs"/>
              </a:rPr>
              <a:t>APPLY, CAST, INTO, ORDER </a:t>
            </a:r>
          </a:p>
          <a:p>
            <a:pPr defTabSz="914225"/>
            <a:r>
              <a:rPr lang="EN-US" sz="1176">
                <a:solidFill>
                  <a:srgbClr val="7030A0"/>
                </a:solidFill>
                <a:latin typeface="Consolas"/>
                <a:cs typeface="+mn-cs"/>
              </a:rPr>
              <a:t>BY ASC, DSC</a:t>
            </a:r>
          </a:p>
          <a:p>
            <a:pPr marL="285648" indent="-285648" defTabSz="914225"/>
            <a:endParaRPr lang="en-US" sz="1176">
              <a:solidFill>
                <a:schemeClr val="tx1"/>
              </a:solidFill>
              <a:latin typeface="Consolas"/>
              <a:cs typeface="+mn-cs"/>
            </a:endParaRPr>
          </a:p>
        </p:txBody>
      </p:sp>
      <p:sp>
        <p:nvSpPr>
          <p:cNvPr id="2" name="Title 1"/>
          <p:cNvSpPr>
            <a:spLocks noGrp="1"/>
          </p:cNvSpPr>
          <p:nvPr>
            <p:ph type="title"/>
          </p:nvPr>
        </p:nvSpPr>
        <p:spPr>
          <a:xfrm>
            <a:off x="361776" y="58528"/>
            <a:ext cx="4233244" cy="899537"/>
          </a:xfrm>
        </p:spPr>
        <p:txBody>
          <a:bodyPr/>
          <a:lstStyle/>
          <a:p>
            <a:r>
              <a:rPr lang="en-US" sz="4509" dirty="0">
                <a:gradFill>
                  <a:gsLst>
                    <a:gs pos="0">
                      <a:srgbClr val="FFFFFF"/>
                    </a:gs>
                    <a:gs pos="100000">
                      <a:srgbClr val="FFFFFF"/>
                    </a:gs>
                  </a:gsLst>
                  <a:lin ang="5400000" scaled="0"/>
                </a:gradFill>
              </a:rPr>
              <a:t>Lowering the bar for developer skill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251" y="3363407"/>
            <a:ext cx="4302792" cy="2868528"/>
          </a:xfrm>
          <a:prstGeom prst="rect">
            <a:avLst/>
          </a:prstGeom>
        </p:spPr>
      </p:pic>
      <p:sp>
        <p:nvSpPr>
          <p:cNvPr id="12" name="TextBox 11"/>
          <p:cNvSpPr txBox="1"/>
          <p:nvPr/>
        </p:nvSpPr>
        <p:spPr>
          <a:xfrm>
            <a:off x="9484650" y="1739811"/>
            <a:ext cx="1792695" cy="633625"/>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Scaling Extensions</a:t>
            </a:r>
          </a:p>
          <a:p>
            <a:pPr defTabSz="896386">
              <a:defRPr/>
            </a:pPr>
            <a:r>
              <a:rPr lang="en-US" sz="1176" kern="0" dirty="0">
                <a:solidFill>
                  <a:srgbClr val="7030A0"/>
                </a:solidFill>
                <a:latin typeface="Consolas"/>
              </a:rPr>
              <a:t>WITH, PARTITION B</a:t>
            </a:r>
            <a:r>
              <a:rPr lang="en-US" sz="1176" kern="0" spc="-71" dirty="0">
                <a:solidFill>
                  <a:srgbClr val="7030A0"/>
                </a:solidFill>
                <a:latin typeface="Segoe UI"/>
              </a:rPr>
              <a:t>Y</a:t>
            </a:r>
          </a:p>
          <a:p>
            <a:pPr defTabSz="896386">
              <a:defRPr/>
            </a:pPr>
            <a:r>
              <a:rPr lang="en-US" sz="1176" kern="0" dirty="0">
                <a:solidFill>
                  <a:srgbClr val="7030A0"/>
                </a:solidFill>
                <a:latin typeface="Consolas"/>
              </a:rPr>
              <a:t>OVER</a:t>
            </a:r>
          </a:p>
        </p:txBody>
      </p:sp>
      <p:sp>
        <p:nvSpPr>
          <p:cNvPr id="13" name="TextBox 12"/>
          <p:cNvSpPr txBox="1"/>
          <p:nvPr/>
        </p:nvSpPr>
        <p:spPr>
          <a:xfrm>
            <a:off x="5925833" y="2364826"/>
            <a:ext cx="2427891" cy="814661"/>
          </a:xfrm>
          <a:prstGeom prst="rect">
            <a:avLst/>
          </a:prstGeom>
          <a:noFill/>
        </p:spPr>
        <p:txBody>
          <a:bodyPr wrap="none" lIns="0" tIns="0" rIns="0" bIns="0" rtlCol="0">
            <a:spAutoFit/>
          </a:bodyPr>
          <a:lstStyle/>
          <a:p>
            <a:pPr defTabSz="896386">
              <a:defRPr/>
            </a:pPr>
            <a:r>
              <a:rPr lang="en-US" sz="1765" b="1" kern="0" spc="-71">
                <a:gradFill>
                  <a:gsLst>
                    <a:gs pos="2917">
                      <a:srgbClr val="404040"/>
                    </a:gs>
                    <a:gs pos="30000">
                      <a:srgbClr val="404040"/>
                    </a:gs>
                  </a:gsLst>
                  <a:lin ang="5400000" scaled="0"/>
                </a:gradFill>
                <a:latin typeface="Segoe UI"/>
              </a:rPr>
              <a:t>Date and Time Functions</a:t>
            </a:r>
          </a:p>
          <a:p>
            <a:pPr defTabSz="896386">
              <a:defRPr/>
            </a:pPr>
            <a:r>
              <a:rPr lang="en-US" sz="1176" kern="0" err="1">
                <a:solidFill>
                  <a:srgbClr val="7030A0"/>
                </a:solidFill>
                <a:latin typeface="Consolas"/>
              </a:rPr>
              <a:t>DateName</a:t>
            </a:r>
            <a:r>
              <a:rPr lang="en-US" sz="1176" kern="0">
                <a:solidFill>
                  <a:srgbClr val="7030A0"/>
                </a:solidFill>
                <a:latin typeface="Consolas"/>
              </a:rPr>
              <a:t>, </a:t>
            </a:r>
            <a:r>
              <a:rPr lang="en-US" sz="1176" kern="0" err="1">
                <a:solidFill>
                  <a:srgbClr val="7030A0"/>
                </a:solidFill>
                <a:latin typeface="Consolas"/>
              </a:rPr>
              <a:t>DatePart</a:t>
            </a:r>
            <a:r>
              <a:rPr lang="en-US" sz="1176" kern="0">
                <a:solidFill>
                  <a:srgbClr val="7030A0"/>
                </a:solidFill>
                <a:latin typeface="Consolas"/>
              </a:rPr>
              <a:t>, Day</a:t>
            </a:r>
          </a:p>
          <a:p>
            <a:pPr defTabSz="896386">
              <a:defRPr/>
            </a:pPr>
            <a:r>
              <a:rPr lang="en-US" sz="1176" kern="0">
                <a:solidFill>
                  <a:srgbClr val="7030A0"/>
                </a:solidFill>
                <a:latin typeface="Consolas"/>
              </a:rPr>
              <a:t>Month, Year, </a:t>
            </a:r>
            <a:r>
              <a:rPr lang="en-US" sz="1176" kern="0" err="1">
                <a:solidFill>
                  <a:srgbClr val="7030A0"/>
                </a:solidFill>
                <a:latin typeface="Consolas"/>
              </a:rPr>
              <a:t>DateDiff</a:t>
            </a:r>
            <a:endParaRPr lang="en-US" sz="1176" kern="0">
              <a:solidFill>
                <a:srgbClr val="7030A0"/>
              </a:solidFill>
              <a:latin typeface="Consolas"/>
            </a:endParaRPr>
          </a:p>
          <a:p>
            <a:pPr defTabSz="896386">
              <a:defRPr/>
            </a:pPr>
            <a:r>
              <a:rPr lang="en-US" sz="1176" kern="0" err="1">
                <a:solidFill>
                  <a:srgbClr val="7030A0"/>
                </a:solidFill>
                <a:latin typeface="Consolas"/>
              </a:rPr>
              <a:t>DateTimeFromParts</a:t>
            </a:r>
            <a:r>
              <a:rPr lang="en-US" sz="1176" kern="0">
                <a:solidFill>
                  <a:srgbClr val="7030A0"/>
                </a:solidFill>
                <a:latin typeface="Consolas"/>
              </a:rPr>
              <a:t>, </a:t>
            </a:r>
            <a:r>
              <a:rPr lang="en-US" sz="1176" kern="0" err="1">
                <a:solidFill>
                  <a:srgbClr val="7030A0"/>
                </a:solidFill>
                <a:latin typeface="Consolas"/>
              </a:rPr>
              <a:t>DateAdd</a:t>
            </a:r>
            <a:endParaRPr lang="en-US" sz="1176" kern="0">
              <a:solidFill>
                <a:srgbClr val="7030A0"/>
              </a:solidFill>
              <a:latin typeface="Consolas"/>
            </a:endParaRPr>
          </a:p>
        </p:txBody>
      </p:sp>
      <p:sp>
        <p:nvSpPr>
          <p:cNvPr id="14" name="TextBox 13"/>
          <p:cNvSpPr txBox="1"/>
          <p:nvPr/>
        </p:nvSpPr>
        <p:spPr>
          <a:xfrm>
            <a:off x="5925833" y="4475563"/>
            <a:ext cx="2241324" cy="814661"/>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Windowing Extensions</a:t>
            </a:r>
          </a:p>
          <a:p>
            <a:pPr defTabSz="896386">
              <a:defRPr/>
            </a:pPr>
            <a:r>
              <a:rPr lang="en-US" sz="1176" kern="0" dirty="0" err="1">
                <a:solidFill>
                  <a:srgbClr val="7030A0"/>
                </a:solidFill>
                <a:latin typeface="Consolas"/>
              </a:rPr>
              <a:t>Tumbl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Hopp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SlidingWindow</a:t>
            </a:r>
            <a:endParaRPr lang="en-US" sz="1176" kern="0" dirty="0">
              <a:solidFill>
                <a:srgbClr val="7030A0"/>
              </a:solidFill>
              <a:latin typeface="Consolas"/>
            </a:endParaRPr>
          </a:p>
        </p:txBody>
      </p:sp>
      <p:sp>
        <p:nvSpPr>
          <p:cNvPr id="15" name="TextBox 14"/>
          <p:cNvSpPr txBox="1"/>
          <p:nvPr/>
        </p:nvSpPr>
        <p:spPr>
          <a:xfrm>
            <a:off x="9484650" y="2684477"/>
            <a:ext cx="2037345" cy="814661"/>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Aggregate Functions</a:t>
            </a:r>
          </a:p>
          <a:p>
            <a:pPr defTabSz="896386">
              <a:defRPr/>
            </a:pPr>
            <a:r>
              <a:rPr lang="en-US" sz="1176" kern="0" dirty="0">
                <a:solidFill>
                  <a:srgbClr val="7030A0"/>
                </a:solidFill>
                <a:latin typeface="Consolas"/>
              </a:rPr>
              <a:t>SUM, COUNT, AVG, MIN, </a:t>
            </a:r>
          </a:p>
          <a:p>
            <a:pPr defTabSz="896386">
              <a:defRPr/>
            </a:pPr>
            <a:r>
              <a:rPr lang="en-US" sz="1176" kern="0" dirty="0">
                <a:solidFill>
                  <a:srgbClr val="7030A0"/>
                </a:solidFill>
                <a:latin typeface="Consolas"/>
              </a:rPr>
              <a:t>MAX, STDEV, STDEVP, VAR</a:t>
            </a:r>
          </a:p>
          <a:p>
            <a:pPr defTabSz="896386">
              <a:defRPr/>
            </a:pPr>
            <a:r>
              <a:rPr lang="en-US" sz="1176" kern="0" dirty="0">
                <a:solidFill>
                  <a:srgbClr val="7030A0"/>
                </a:solidFill>
                <a:latin typeface="Consolas"/>
              </a:rPr>
              <a:t>VARP, </a:t>
            </a:r>
            <a:r>
              <a:rPr lang="en-US" sz="1176" kern="0" dirty="0" err="1">
                <a:solidFill>
                  <a:srgbClr val="7030A0"/>
                </a:solidFill>
                <a:latin typeface="Consolas"/>
              </a:rPr>
              <a:t>TopOne</a:t>
            </a:r>
            <a:endParaRPr lang="en-US" sz="1176" kern="0" dirty="0">
              <a:solidFill>
                <a:srgbClr val="7030A0"/>
              </a:solidFill>
              <a:latin typeface="Consolas"/>
            </a:endParaRPr>
          </a:p>
        </p:txBody>
      </p:sp>
      <p:sp>
        <p:nvSpPr>
          <p:cNvPr id="16" name="TextBox 15"/>
          <p:cNvSpPr txBox="1"/>
          <p:nvPr/>
        </p:nvSpPr>
        <p:spPr>
          <a:xfrm>
            <a:off x="9484651" y="614110"/>
            <a:ext cx="1832358" cy="814661"/>
          </a:xfrm>
          <a:prstGeom prst="rect">
            <a:avLst/>
          </a:prstGeom>
          <a:noFill/>
        </p:spPr>
        <p:txBody>
          <a:bodyPr wrap="none" lIns="0" tIns="0" rIns="0" bIns="0" rtlCol="0">
            <a:spAutoFit/>
          </a:bodyPr>
          <a:lstStyle/>
          <a:p>
            <a:pPr defTabSz="896386">
              <a:defRPr/>
            </a:pPr>
            <a:r>
              <a:rPr lang="en-US" sz="1765" b="1" kern="0" spc="-71">
                <a:gradFill>
                  <a:gsLst>
                    <a:gs pos="2917">
                      <a:srgbClr val="404040"/>
                    </a:gs>
                    <a:gs pos="30000">
                      <a:srgbClr val="404040"/>
                    </a:gs>
                  </a:gsLst>
                  <a:lin ang="5400000" scaled="0"/>
                </a:gradFill>
                <a:latin typeface="Segoe UI"/>
              </a:rPr>
              <a:t>String Functions</a:t>
            </a:r>
          </a:p>
          <a:p>
            <a:pPr defTabSz="896386">
              <a:defRPr/>
            </a:pPr>
            <a:r>
              <a:rPr lang="en-US" sz="1176" kern="0">
                <a:solidFill>
                  <a:srgbClr val="7030A0"/>
                </a:solidFill>
                <a:latin typeface="Consolas"/>
              </a:rPr>
              <a:t>Len, </a:t>
            </a:r>
            <a:r>
              <a:rPr lang="en-US" sz="1176" kern="0" err="1">
                <a:solidFill>
                  <a:srgbClr val="7030A0"/>
                </a:solidFill>
                <a:latin typeface="Consolas"/>
              </a:rPr>
              <a:t>Concat</a:t>
            </a:r>
            <a:r>
              <a:rPr lang="en-US" sz="1176" kern="0">
                <a:solidFill>
                  <a:srgbClr val="7030A0"/>
                </a:solidFill>
                <a:latin typeface="Consolas"/>
              </a:rPr>
              <a:t>, </a:t>
            </a:r>
            <a:r>
              <a:rPr lang="en-US" sz="1176" kern="0" err="1">
                <a:solidFill>
                  <a:srgbClr val="7030A0"/>
                </a:solidFill>
                <a:latin typeface="Consolas"/>
              </a:rPr>
              <a:t>CharIndex</a:t>
            </a:r>
            <a:endParaRPr lang="en-US" sz="1176" kern="0">
              <a:solidFill>
                <a:srgbClr val="7030A0"/>
              </a:solidFill>
              <a:latin typeface="Consolas"/>
            </a:endParaRPr>
          </a:p>
          <a:p>
            <a:pPr defTabSz="896386">
              <a:defRPr/>
            </a:pPr>
            <a:r>
              <a:rPr lang="en-US" sz="1176" kern="0">
                <a:solidFill>
                  <a:srgbClr val="7030A0"/>
                </a:solidFill>
                <a:latin typeface="Consolas"/>
              </a:rPr>
              <a:t>Substring, Lower</a:t>
            </a:r>
          </a:p>
          <a:p>
            <a:pPr defTabSz="896386">
              <a:defRPr/>
            </a:pPr>
            <a:r>
              <a:rPr lang="en-US" sz="1176" kern="0">
                <a:solidFill>
                  <a:srgbClr val="7030A0"/>
                </a:solidFill>
                <a:latin typeface="Consolas"/>
              </a:rPr>
              <a:t>Upper, </a:t>
            </a:r>
            <a:r>
              <a:rPr lang="en-US" sz="1176" kern="0" err="1">
                <a:solidFill>
                  <a:srgbClr val="7030A0"/>
                </a:solidFill>
                <a:latin typeface="Consolas"/>
              </a:rPr>
              <a:t>PatIndex</a:t>
            </a:r>
            <a:endParaRPr lang="en-US" sz="1176" kern="0">
              <a:solidFill>
                <a:srgbClr val="7030A0"/>
              </a:solidFill>
              <a:latin typeface="Consolas"/>
            </a:endParaRPr>
          </a:p>
        </p:txBody>
      </p:sp>
      <p:sp>
        <p:nvSpPr>
          <p:cNvPr id="17" name="TextBox 16"/>
          <p:cNvSpPr txBox="1"/>
          <p:nvPr/>
        </p:nvSpPr>
        <p:spPr>
          <a:xfrm>
            <a:off x="5925833" y="3521770"/>
            <a:ext cx="1920991" cy="663797"/>
          </a:xfrm>
          <a:prstGeom prst="rect">
            <a:avLst/>
          </a:prstGeom>
          <a:noFill/>
        </p:spPr>
        <p:txBody>
          <a:bodyPr wrap="none" lIns="0" tIns="0" rIns="0" bIns="0" rtlCol="0">
            <a:spAutoFit/>
          </a:bodyPr>
          <a:lstStyle/>
          <a:p>
            <a:pPr defTabSz="896386">
              <a:defRPr/>
            </a:pPr>
            <a:r>
              <a:rPr lang="en-US" sz="1765" b="1" kern="0" spc="-71">
                <a:gradFill>
                  <a:gsLst>
                    <a:gs pos="2917">
                      <a:srgbClr val="404040"/>
                    </a:gs>
                    <a:gs pos="30000">
                      <a:srgbClr val="404040"/>
                    </a:gs>
                  </a:gsLst>
                  <a:lin ang="5400000" scaled="0"/>
                </a:gradFill>
                <a:latin typeface="Segoe UI"/>
              </a:rPr>
              <a:t>Temporal Functions</a:t>
            </a:r>
            <a:endParaRPr lang="en-US" sz="1372" kern="0" spc="-71">
              <a:gradFill>
                <a:gsLst>
                  <a:gs pos="2917">
                    <a:srgbClr val="404040"/>
                  </a:gs>
                  <a:gs pos="30000">
                    <a:srgbClr val="404040"/>
                  </a:gs>
                </a:gsLst>
                <a:lin ang="5400000" scaled="0"/>
              </a:gradFill>
              <a:latin typeface="Segoe UI"/>
            </a:endParaRPr>
          </a:p>
          <a:p>
            <a:pPr defTabSz="896386">
              <a:defRPr/>
            </a:pPr>
            <a:r>
              <a:rPr lang="en-US" sz="1176" kern="0">
                <a:solidFill>
                  <a:srgbClr val="7030A0"/>
                </a:solidFill>
                <a:latin typeface="Consolas"/>
              </a:rPr>
              <a:t>Lag</a:t>
            </a:r>
            <a:r>
              <a:rPr lang="en-US" sz="1372" kern="0" spc="-71">
                <a:gradFill>
                  <a:gsLst>
                    <a:gs pos="2917">
                      <a:srgbClr val="404040"/>
                    </a:gs>
                    <a:gs pos="30000">
                      <a:srgbClr val="404040"/>
                    </a:gs>
                  </a:gsLst>
                  <a:lin ang="5400000" scaled="0"/>
                </a:gradFill>
                <a:latin typeface="Segoe UI"/>
              </a:rPr>
              <a:t>, </a:t>
            </a:r>
            <a:r>
              <a:rPr lang="en-US" sz="1176" kern="0" err="1">
                <a:solidFill>
                  <a:srgbClr val="7030A0"/>
                </a:solidFill>
                <a:latin typeface="Consolas"/>
              </a:rPr>
              <a:t>IsFirst,Last</a:t>
            </a:r>
            <a:endParaRPr lang="en-US" sz="1176" kern="0">
              <a:solidFill>
                <a:srgbClr val="7030A0"/>
              </a:solidFill>
              <a:latin typeface="Consolas"/>
            </a:endParaRPr>
          </a:p>
          <a:p>
            <a:pPr defTabSz="896386">
              <a:defRPr/>
            </a:pPr>
            <a:r>
              <a:rPr lang="en-US" sz="1176" kern="0" err="1">
                <a:solidFill>
                  <a:srgbClr val="7030A0"/>
                </a:solidFill>
                <a:latin typeface="Consolas"/>
              </a:rPr>
              <a:t>CollectTop</a:t>
            </a:r>
            <a:endParaRPr lang="en-US" sz="1176" kern="0">
              <a:solidFill>
                <a:srgbClr val="7030A0"/>
              </a:solidFill>
              <a:latin typeface="Consolas"/>
            </a:endParaRPr>
          </a:p>
        </p:txBody>
      </p:sp>
      <p:sp>
        <p:nvSpPr>
          <p:cNvPr id="18" name="TextBox 17"/>
          <p:cNvSpPr txBox="1"/>
          <p:nvPr/>
        </p:nvSpPr>
        <p:spPr>
          <a:xfrm>
            <a:off x="5925832" y="5626208"/>
            <a:ext cx="2349819" cy="633625"/>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Mathematical Functions</a:t>
            </a:r>
          </a:p>
          <a:p>
            <a:pPr defTabSz="896386">
              <a:defRPr/>
            </a:pPr>
            <a:r>
              <a:rPr lang="en-US" sz="1176" kern="0" dirty="0">
                <a:solidFill>
                  <a:srgbClr val="7030A0"/>
                </a:solidFill>
                <a:latin typeface="Consolas"/>
              </a:rPr>
              <a:t>ABS, CEILING, EXP, FLOOR</a:t>
            </a:r>
          </a:p>
          <a:p>
            <a:pPr defTabSz="896386">
              <a:defRPr/>
            </a:pPr>
            <a:r>
              <a:rPr lang="en-US" sz="1176" kern="0" dirty="0">
                <a:solidFill>
                  <a:srgbClr val="7030A0"/>
                </a:solidFill>
                <a:latin typeface="Consolas"/>
              </a:rPr>
              <a:t>POWER, SIGN, SQUARE, SQRT</a:t>
            </a:r>
          </a:p>
        </p:txBody>
      </p:sp>
      <p:sp>
        <p:nvSpPr>
          <p:cNvPr id="19" name="TextBox 18"/>
          <p:cNvSpPr txBox="1"/>
          <p:nvPr/>
        </p:nvSpPr>
        <p:spPr>
          <a:xfrm>
            <a:off x="9484651" y="3922527"/>
            <a:ext cx="2026910" cy="1538804"/>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Geospatial Functions</a:t>
            </a:r>
          </a:p>
          <a:p>
            <a:pPr defTabSz="896386">
              <a:defRPr/>
            </a:pPr>
            <a:r>
              <a:rPr lang="en-US" sz="1176" kern="0" dirty="0" err="1">
                <a:solidFill>
                  <a:srgbClr val="7030A0"/>
                </a:solidFill>
                <a:latin typeface="Consolas"/>
              </a:rPr>
              <a:t>CreatePoint</a:t>
            </a:r>
            <a:endParaRPr lang="en-US" sz="1176" kern="0" dirty="0">
              <a:solidFill>
                <a:srgbClr val="7030A0"/>
              </a:solidFill>
              <a:latin typeface="Consolas"/>
            </a:endParaRPr>
          </a:p>
          <a:p>
            <a:pPr defTabSz="896386">
              <a:defRPr/>
            </a:pPr>
            <a:r>
              <a:rPr lang="en-US" sz="1176" kern="0" dirty="0" err="1">
                <a:solidFill>
                  <a:srgbClr val="7030A0"/>
                </a:solidFill>
                <a:latin typeface="Consolas"/>
              </a:rPr>
              <a:t>CreatePolygon</a:t>
            </a:r>
            <a:endParaRPr lang="en-US" sz="1176" kern="0" dirty="0">
              <a:solidFill>
                <a:srgbClr val="7030A0"/>
              </a:solidFill>
              <a:latin typeface="Consolas"/>
            </a:endParaRPr>
          </a:p>
          <a:p>
            <a:pPr defTabSz="896386">
              <a:defRPr/>
            </a:pPr>
            <a:r>
              <a:rPr lang="en-US" sz="1176" kern="0" dirty="0" err="1">
                <a:solidFill>
                  <a:srgbClr val="7030A0"/>
                </a:solidFill>
                <a:latin typeface="Consolas"/>
              </a:rPr>
              <a:t>CreateLine</a:t>
            </a:r>
            <a:r>
              <a:rPr lang="en-US" sz="1176" kern="0" dirty="0">
                <a:solidFill>
                  <a:srgbClr val="7030A0"/>
                </a:solidFill>
                <a:latin typeface="Consolas"/>
              </a:rPr>
              <a:t>String</a:t>
            </a:r>
          </a:p>
          <a:p>
            <a:pPr defTabSz="896386">
              <a:defRPr/>
            </a:pPr>
            <a:r>
              <a:rPr lang="en-US" sz="1176" kern="0" dirty="0">
                <a:solidFill>
                  <a:srgbClr val="7030A0"/>
                </a:solidFill>
                <a:latin typeface="Consolas"/>
              </a:rPr>
              <a:t>ST_DISTANCE</a:t>
            </a:r>
          </a:p>
          <a:p>
            <a:pPr defTabSz="896386">
              <a:defRPr/>
            </a:pPr>
            <a:r>
              <a:rPr lang="en-US" sz="1176" kern="0" dirty="0">
                <a:solidFill>
                  <a:srgbClr val="7030A0"/>
                </a:solidFill>
                <a:latin typeface="Consolas"/>
              </a:rPr>
              <a:t>ST_INTERSECTS</a:t>
            </a:r>
          </a:p>
          <a:p>
            <a:pPr defTabSz="896386">
              <a:defRPr/>
            </a:pPr>
            <a:r>
              <a:rPr lang="en-US" sz="1176" kern="0" dirty="0">
                <a:solidFill>
                  <a:srgbClr val="7030A0"/>
                </a:solidFill>
                <a:latin typeface="Consolas"/>
              </a:rPr>
              <a:t>ST_OVERLAPS</a:t>
            </a:r>
          </a:p>
          <a:p>
            <a:pPr defTabSz="896386">
              <a:defRPr/>
            </a:pPr>
            <a:r>
              <a:rPr lang="en-US" sz="1176" kern="0" dirty="0">
                <a:solidFill>
                  <a:srgbClr val="7030A0"/>
                </a:solidFill>
                <a:latin typeface="Consolas"/>
              </a:rPr>
              <a:t>ST_WITHIN</a:t>
            </a:r>
          </a:p>
        </p:txBody>
      </p:sp>
    </p:spTree>
    <p:extLst>
      <p:ext uri="{BB962C8B-B14F-4D97-AF65-F5344CB8AC3E}">
        <p14:creationId xmlns:p14="http://schemas.microsoft.com/office/powerpoint/2010/main" val="20787342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1" y="10337"/>
            <a:ext cx="5199575" cy="64912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840" name="Title 1"/>
          <p:cNvSpPr txBox="1">
            <a:spLocks/>
          </p:cNvSpPr>
          <p:nvPr/>
        </p:nvSpPr>
        <p:spPr>
          <a:xfrm>
            <a:off x="119445" y="-28435"/>
            <a:ext cx="4557605" cy="899537"/>
          </a:xfrm>
          <a:prstGeom prst="rect">
            <a:avLst/>
          </a:prstGeom>
        </p:spPr>
        <p:txBody>
          <a:bodyPr vert="horz" wrap="square" lIns="143428" tIns="89642" rIns="143428" bIns="89642"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5292" spc="-100">
                <a:solidFill>
                  <a:srgbClr val="505050">
                    <a:lumMod val="50000"/>
                  </a:srgbClr>
                </a:solidFill>
                <a:latin typeface="Segoe UI Light"/>
                <a:cs typeface="Segoe UI Light" panose="020B0502040204020203" pitchFamily="34" charset="0"/>
              </a:rPr>
              <a:t>Reference Data</a:t>
            </a:r>
          </a:p>
        </p:txBody>
      </p:sp>
      <p:sp>
        <p:nvSpPr>
          <p:cNvPr id="841" name="Text Placeholder 6"/>
          <p:cNvSpPr>
            <a:spLocks noGrp="1"/>
          </p:cNvSpPr>
          <p:nvPr>
            <p:ph type="body" sz="quarter" idx="10"/>
          </p:nvPr>
        </p:nvSpPr>
        <p:spPr>
          <a:xfrm>
            <a:off x="5842324" y="883928"/>
            <a:ext cx="6050868" cy="3285334"/>
          </a:xfrm>
          <a:prstGeom prst="rect">
            <a:avLst/>
          </a:prstGeom>
        </p:spPr>
        <p:txBody>
          <a:bodyPr>
            <a:normAutofit fontScale="92500" lnSpcReduction="20000"/>
          </a:bodyPr>
          <a:lstStyle/>
          <a:p>
            <a:r>
              <a:rPr lang="en-US" sz="2745" b="1">
                <a:solidFill>
                  <a:srgbClr val="7FBA00"/>
                </a:solidFill>
                <a:latin typeface="Segoe UI Light" panose="020B0502040204020203" pitchFamily="34" charset="0"/>
                <a:cs typeface="Segoe UI Light" panose="020B0502040204020203" pitchFamily="34" charset="0"/>
              </a:rPr>
              <a:t>Seamless correlation of event streams with reference data</a:t>
            </a:r>
          </a:p>
          <a:p>
            <a:endParaRPr lang="en-US" sz="2745">
              <a:solidFill>
                <a:srgbClr val="7FBA00"/>
              </a:solidFill>
              <a:latin typeface="Segoe UI Light" panose="020B0502040204020203" pitchFamily="34" charset="0"/>
              <a:cs typeface="Segoe UI Light" panose="020B0502040204020203" pitchFamily="34" charset="0"/>
            </a:endParaRPr>
          </a:p>
          <a:p>
            <a:r>
              <a:rPr lang="en-US" sz="1961">
                <a:solidFill>
                  <a:schemeClr val="bg2">
                    <a:lumMod val="50000"/>
                  </a:schemeClr>
                </a:solidFill>
              </a:rPr>
              <a:t>Static or slowly-changing data stored in blobs</a:t>
            </a:r>
          </a:p>
          <a:p>
            <a:endParaRPr lang="en-US" sz="1961">
              <a:solidFill>
                <a:schemeClr val="bg2">
                  <a:lumMod val="50000"/>
                </a:schemeClr>
              </a:solidFill>
              <a:latin typeface="Consolas"/>
            </a:endParaRPr>
          </a:p>
          <a:p>
            <a:r>
              <a:rPr lang="en-US" sz="1961">
                <a:solidFill>
                  <a:schemeClr val="bg2">
                    <a:lumMod val="50000"/>
                  </a:schemeClr>
                </a:solidFill>
              </a:rPr>
              <a:t>Scanned for changes on a settable cadence</a:t>
            </a:r>
            <a:br>
              <a:rPr lang="en-US" sz="1961">
                <a:solidFill>
                  <a:schemeClr val="bg2">
                    <a:lumMod val="50000"/>
                  </a:schemeClr>
                </a:solidFill>
              </a:rPr>
            </a:br>
            <a:endParaRPr lang="en-US" sz="1961">
              <a:solidFill>
                <a:schemeClr val="bg2">
                  <a:lumMod val="50000"/>
                </a:schemeClr>
              </a:solidFill>
            </a:endParaRPr>
          </a:p>
          <a:p>
            <a:r>
              <a:rPr lang="en-US" sz="1961" b="1">
                <a:solidFill>
                  <a:schemeClr val="bg2">
                    <a:lumMod val="50000"/>
                  </a:schemeClr>
                </a:solidFill>
              </a:rPr>
              <a:t>JOIN </a:t>
            </a:r>
            <a:r>
              <a:rPr lang="en-US" sz="1961">
                <a:solidFill>
                  <a:schemeClr val="bg2">
                    <a:lumMod val="50000"/>
                  </a:schemeClr>
                </a:solidFill>
              </a:rPr>
              <a:t>(</a:t>
            </a:r>
            <a:r>
              <a:rPr lang="en-US" sz="1961" b="1">
                <a:solidFill>
                  <a:schemeClr val="bg2">
                    <a:lumMod val="50000"/>
                  </a:schemeClr>
                </a:solidFill>
              </a:rPr>
              <a:t>INNER </a:t>
            </a:r>
            <a:r>
              <a:rPr lang="en-US" sz="1961">
                <a:solidFill>
                  <a:schemeClr val="bg2">
                    <a:lumMod val="50000"/>
                  </a:schemeClr>
                </a:solidFill>
              </a:rPr>
              <a:t>or </a:t>
            </a:r>
            <a:r>
              <a:rPr lang="en-US" sz="1961" b="1">
                <a:solidFill>
                  <a:schemeClr val="bg2">
                    <a:lumMod val="50000"/>
                  </a:schemeClr>
                </a:solidFill>
              </a:rPr>
              <a:t>LEFT OUTER</a:t>
            </a:r>
            <a:r>
              <a:rPr lang="en-US" sz="1961">
                <a:solidFill>
                  <a:schemeClr val="bg2">
                    <a:lumMod val="50000"/>
                  </a:schemeClr>
                </a:solidFill>
              </a:rPr>
              <a:t>) between streams and reference data sources</a:t>
            </a:r>
          </a:p>
          <a:p>
            <a:endParaRPr lang="en-US" sz="1961">
              <a:solidFill>
                <a:schemeClr val="bg2">
                  <a:lumMod val="50000"/>
                </a:schemeClr>
              </a:solidFill>
            </a:endParaRPr>
          </a:p>
          <a:p>
            <a:endParaRPr lang="en-US" sz="1961">
              <a:solidFill>
                <a:schemeClr val="bg2">
                  <a:lumMod val="50000"/>
                </a:schemeClr>
              </a:solidFill>
            </a:endParaRPr>
          </a:p>
          <a:p>
            <a:r>
              <a:rPr lang="en-US" sz="1961">
                <a:solidFill>
                  <a:schemeClr val="bg2">
                    <a:lumMod val="50000"/>
                  </a:schemeClr>
                </a:solidFill>
              </a:rPr>
              <a:t>Reference data appears like another input in the query</a:t>
            </a:r>
          </a:p>
        </p:txBody>
      </p:sp>
      <p:sp>
        <p:nvSpPr>
          <p:cNvPr id="842" name="Freeform 38"/>
          <p:cNvSpPr>
            <a:spLocks noEditPoints="1"/>
          </p:cNvSpPr>
          <p:nvPr/>
        </p:nvSpPr>
        <p:spPr bwMode="auto">
          <a:xfrm>
            <a:off x="2136791" y="4101319"/>
            <a:ext cx="522914" cy="1419339"/>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404040"/>
              </a:solidFill>
              <a:latin typeface="Segoe UI"/>
            </a:endParaRPr>
          </a:p>
        </p:txBody>
      </p:sp>
      <p:pic>
        <p:nvPicPr>
          <p:cNvPr id="844" name="Picture 8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866" y="2251157"/>
            <a:ext cx="3648804" cy="2432536"/>
          </a:xfrm>
          <a:prstGeom prst="rect">
            <a:avLst/>
          </a:prstGeom>
        </p:spPr>
      </p:pic>
      <p:sp>
        <p:nvSpPr>
          <p:cNvPr id="2" name="TextBox 1"/>
          <p:cNvSpPr txBox="1"/>
          <p:nvPr/>
        </p:nvSpPr>
        <p:spPr>
          <a:xfrm>
            <a:off x="5797192" y="4698935"/>
            <a:ext cx="6096000" cy="1496563"/>
          </a:xfrm>
          <a:prstGeom prst="rect">
            <a:avLst/>
          </a:prstGeom>
          <a:solidFill>
            <a:schemeClr val="bg1">
              <a:lumMod val="95000"/>
            </a:schemeClr>
          </a:solidFill>
        </p:spPr>
        <p:txBody>
          <a:bodyPr wrap="square" lIns="179285" tIns="143428" rIns="179285" bIns="143428" rtlCol="0">
            <a:spAutoFit/>
          </a:bodyPr>
          <a:lstStyle/>
          <a:p>
            <a:pPr defTabSz="896386">
              <a:defRPr/>
            </a:pPr>
            <a:r>
              <a:rPr lang="en-US" sz="1961" kern="0">
                <a:solidFill>
                  <a:srgbClr val="00188F">
                    <a:lumMod val="60000"/>
                    <a:lumOff val="40000"/>
                  </a:srgbClr>
                </a:solidFill>
                <a:latin typeface="Consolas"/>
              </a:rPr>
              <a:t>SELECT</a:t>
            </a:r>
            <a:r>
              <a:rPr lang="en-US" sz="1961" kern="0">
                <a:solidFill>
                  <a:srgbClr val="00188F">
                    <a:lumMod val="75000"/>
                  </a:srgbClr>
                </a:solidFill>
                <a:latin typeface="Consolas"/>
              </a:rPr>
              <a:t> </a:t>
            </a:r>
            <a:r>
              <a:rPr lang="en-US" sz="1961" kern="0" err="1">
                <a:solidFill>
                  <a:srgbClr val="404040"/>
                </a:solidFill>
                <a:latin typeface="Consolas"/>
              </a:rPr>
              <a:t>myRefData.Name</a:t>
            </a:r>
            <a:r>
              <a:rPr lang="en-US" sz="1961" kern="0">
                <a:solidFill>
                  <a:srgbClr val="404040"/>
                </a:solidFill>
                <a:latin typeface="Consolas"/>
              </a:rPr>
              <a:t>, </a:t>
            </a:r>
            <a:r>
              <a:rPr lang="en-US" sz="1961" kern="0" err="1">
                <a:solidFill>
                  <a:srgbClr val="404040"/>
                </a:solidFill>
                <a:latin typeface="Consolas"/>
              </a:rPr>
              <a:t>myStream.Value</a:t>
            </a:r>
            <a:r>
              <a:rPr lang="en-US" sz="1961" kern="0">
                <a:solidFill>
                  <a:srgbClr val="404040"/>
                </a:solidFill>
                <a:latin typeface="Consolas"/>
              </a:rPr>
              <a:t> </a:t>
            </a:r>
          </a:p>
          <a:p>
            <a:pPr defTabSz="896386">
              <a:defRPr/>
            </a:pPr>
            <a:r>
              <a:rPr lang="en-US" sz="1961" kern="0">
                <a:solidFill>
                  <a:srgbClr val="00188F">
                    <a:lumMod val="60000"/>
                    <a:lumOff val="40000"/>
                  </a:srgbClr>
                </a:solidFill>
                <a:latin typeface="Consolas"/>
              </a:rPr>
              <a:t>FROM</a:t>
            </a:r>
            <a:r>
              <a:rPr lang="en-US" sz="1961" kern="0">
                <a:solidFill>
                  <a:srgbClr val="00188F">
                    <a:lumMod val="75000"/>
                  </a:srgbClr>
                </a:solidFill>
                <a:latin typeface="Consolas"/>
              </a:rPr>
              <a:t> </a:t>
            </a:r>
            <a:r>
              <a:rPr lang="en-US" sz="1961" kern="0" err="1">
                <a:solidFill>
                  <a:srgbClr val="404040"/>
                </a:solidFill>
                <a:latin typeface="Consolas"/>
              </a:rPr>
              <a:t>myStream</a:t>
            </a:r>
            <a:endParaRPr lang="en-US" sz="1961" kern="0">
              <a:solidFill>
                <a:srgbClr val="404040"/>
              </a:solidFill>
              <a:latin typeface="Consolas"/>
            </a:endParaRPr>
          </a:p>
          <a:p>
            <a:pPr defTabSz="896386">
              <a:defRPr/>
            </a:pPr>
            <a:r>
              <a:rPr lang="en-US" sz="1961" kern="0">
                <a:solidFill>
                  <a:srgbClr val="00188F">
                    <a:lumMod val="60000"/>
                    <a:lumOff val="40000"/>
                  </a:srgbClr>
                </a:solidFill>
                <a:latin typeface="Consolas"/>
              </a:rPr>
              <a:t>JOIN</a:t>
            </a:r>
            <a:r>
              <a:rPr lang="en-US" sz="1961" kern="0">
                <a:solidFill>
                  <a:srgbClr val="00188F">
                    <a:lumMod val="75000"/>
                  </a:srgbClr>
                </a:solidFill>
                <a:latin typeface="Consolas"/>
              </a:rPr>
              <a:t> </a:t>
            </a:r>
            <a:r>
              <a:rPr lang="en-US" sz="1961" kern="0" err="1">
                <a:solidFill>
                  <a:srgbClr val="404040"/>
                </a:solidFill>
                <a:latin typeface="Consolas"/>
              </a:rPr>
              <a:t>myRefData</a:t>
            </a:r>
            <a:endParaRPr lang="en-US" sz="1961" kern="0">
              <a:solidFill>
                <a:srgbClr val="404040"/>
              </a:solidFill>
              <a:latin typeface="Consolas"/>
            </a:endParaRPr>
          </a:p>
          <a:p>
            <a:pPr defTabSz="896386">
              <a:defRPr/>
            </a:pPr>
            <a:r>
              <a:rPr lang="en-US" sz="1961" kern="0">
                <a:solidFill>
                  <a:srgbClr val="00188F">
                    <a:lumMod val="60000"/>
                    <a:lumOff val="40000"/>
                  </a:srgbClr>
                </a:solidFill>
                <a:latin typeface="Consolas"/>
              </a:rPr>
              <a:t>	ON</a:t>
            </a:r>
            <a:r>
              <a:rPr lang="en-US" sz="1961" kern="0">
                <a:solidFill>
                  <a:srgbClr val="00188F">
                    <a:lumMod val="75000"/>
                  </a:srgbClr>
                </a:solidFill>
                <a:latin typeface="Consolas"/>
              </a:rPr>
              <a:t> </a:t>
            </a:r>
            <a:r>
              <a:rPr lang="en-US" sz="1961" kern="0" err="1">
                <a:solidFill>
                  <a:srgbClr val="404040"/>
                </a:solidFill>
                <a:latin typeface="Consolas"/>
              </a:rPr>
              <a:t>myStream.myKey</a:t>
            </a:r>
            <a:r>
              <a:rPr lang="en-US" sz="1961" kern="0">
                <a:solidFill>
                  <a:srgbClr val="404040"/>
                </a:solidFill>
                <a:latin typeface="Consolas"/>
              </a:rPr>
              <a:t> = </a:t>
            </a:r>
            <a:r>
              <a:rPr lang="en-US" sz="1961" kern="0" err="1">
                <a:solidFill>
                  <a:srgbClr val="404040"/>
                </a:solidFill>
                <a:latin typeface="Consolas"/>
              </a:rPr>
              <a:t>myRefData.myKey</a:t>
            </a:r>
            <a:endParaRPr lang="en-US" sz="1961" kern="0">
              <a:gradFill>
                <a:gsLst>
                  <a:gs pos="2917">
                    <a:srgbClr val="404040"/>
                  </a:gs>
                  <a:gs pos="30000">
                    <a:srgbClr val="404040"/>
                  </a:gs>
                </a:gsLst>
                <a:lin ang="5400000" scaled="0"/>
              </a:gradFill>
              <a:latin typeface="Segoe UI"/>
            </a:endParaRPr>
          </a:p>
        </p:txBody>
      </p:sp>
    </p:spTree>
    <p:extLst>
      <p:ext uri="{BB962C8B-B14F-4D97-AF65-F5344CB8AC3E}">
        <p14:creationId xmlns:p14="http://schemas.microsoft.com/office/powerpoint/2010/main" val="256611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duotone>
              <a:prstClr val="black"/>
              <a:schemeClr val="accent6">
                <a:tint val="45000"/>
                <a:satMod val="400000"/>
              </a:schemeClr>
            </a:duotone>
          </a:blip>
          <a:srcRect l="363" t="20981" r="363" b="436"/>
          <a:stretch/>
        </p:blipFill>
        <p:spPr>
          <a:xfrm>
            <a:off x="0" y="-136"/>
            <a:ext cx="5199264" cy="6857650"/>
          </a:xfrm>
          <a:prstGeom prst="rect">
            <a:avLst/>
          </a:prstGeom>
          <a:solidFill>
            <a:schemeClr val="bg2">
              <a:lumMod val="50000"/>
            </a:schemeClr>
          </a:solidFill>
        </p:spPr>
      </p:pic>
      <p:sp>
        <p:nvSpPr>
          <p:cNvPr id="2" name="Title 1"/>
          <p:cNvSpPr>
            <a:spLocks noGrp="1"/>
          </p:cNvSpPr>
          <p:nvPr>
            <p:ph type="title"/>
          </p:nvPr>
        </p:nvSpPr>
        <p:spPr>
          <a:xfrm>
            <a:off x="25261" y="77450"/>
            <a:ext cx="5174003" cy="899537"/>
          </a:xfrm>
        </p:spPr>
        <p:txBody>
          <a:bodyPr/>
          <a:lstStyle/>
          <a:p>
            <a:r>
              <a:rPr lang="en-US" sz="4411">
                <a:gradFill>
                  <a:gsLst>
                    <a:gs pos="0">
                      <a:srgbClr val="FFFFFF"/>
                    </a:gs>
                    <a:gs pos="100000">
                      <a:srgbClr val="FFFFFF"/>
                    </a:gs>
                  </a:gsLst>
                  <a:lin ang="5400000" scaled="0"/>
                </a:gradFill>
              </a:rPr>
              <a:t>Seamless integration</a:t>
            </a:r>
            <a:br>
              <a:rPr lang="en-US" sz="4411">
                <a:gradFill>
                  <a:gsLst>
                    <a:gs pos="0">
                      <a:srgbClr val="FFFFFF"/>
                    </a:gs>
                    <a:gs pos="100000">
                      <a:srgbClr val="FFFFFF"/>
                    </a:gs>
                  </a:gsLst>
                  <a:lin ang="5400000" scaled="0"/>
                </a:gradFill>
              </a:rPr>
            </a:br>
            <a:r>
              <a:rPr lang="en-US" sz="4411">
                <a:gradFill>
                  <a:gsLst>
                    <a:gs pos="0">
                      <a:srgbClr val="FFFFFF"/>
                    </a:gs>
                    <a:gs pos="100000">
                      <a:srgbClr val="FFFFFF"/>
                    </a:gs>
                  </a:gsLst>
                  <a:lin ang="5400000" scaled="0"/>
                </a:gradFill>
              </a:rPr>
              <a:t>for rapid solution development</a:t>
            </a:r>
          </a:p>
        </p:txBody>
      </p:sp>
      <p:sp>
        <p:nvSpPr>
          <p:cNvPr id="11" name="Text Placeholder 5"/>
          <p:cNvSpPr txBox="1">
            <a:spLocks/>
          </p:cNvSpPr>
          <p:nvPr/>
        </p:nvSpPr>
        <p:spPr bwMode="auto">
          <a:xfrm>
            <a:off x="5224523" y="213269"/>
            <a:ext cx="6405410" cy="51353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358570" tIns="143428" rIns="179285" bIns="143428"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505">
              <a:defRPr/>
            </a:pPr>
            <a:r>
              <a:rPr lang="EN-US" sz="2353" b="1" dirty="0">
                <a:gradFill>
                  <a:gsLst>
                    <a:gs pos="2920">
                      <a:srgbClr val="505050"/>
                    </a:gs>
                    <a:gs pos="39000">
                      <a:srgbClr val="505050"/>
                    </a:gs>
                  </a:gsLst>
                  <a:lin ang="5400000" scaled="0"/>
                </a:gradFill>
                <a:latin typeface="Segoe UI Light"/>
              </a:rPr>
              <a:t>Ingress</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Event Hub </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IoT Hub </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Blob storage</a:t>
            </a:r>
            <a:r>
              <a:rPr lang="EN-US" sz="1961" dirty="0">
                <a:solidFill>
                  <a:srgbClr val="0072C6">
                    <a:lumMod val="60000"/>
                    <a:lumOff val="40000"/>
                  </a:srgbClr>
                </a:solidFill>
                <a:latin typeface="Segoe UI Light"/>
              </a:rPr>
              <a:t> </a:t>
            </a:r>
            <a:endParaRPr lang="EN-US" sz="1961" dirty="0">
              <a:gradFill>
                <a:gsLst>
                  <a:gs pos="2920">
                    <a:srgbClr val="505050"/>
                  </a:gs>
                  <a:gs pos="39000">
                    <a:srgbClr val="505050"/>
                  </a:gs>
                </a:gsLst>
                <a:lin ang="5400000" scaled="0"/>
              </a:gradFill>
              <a:latin typeface="Segoe UI Light"/>
            </a:endParaRPr>
          </a:p>
          <a:p>
            <a:pPr marL="336145" indent="-336145" defTabSz="913505">
              <a:buFont typeface="Arial" panose="020B0604020202020204" pitchFamily="34" charset="0"/>
              <a:buChar char="•"/>
              <a:defRPr/>
            </a:pPr>
            <a:endParaRPr lang="en-US" sz="2353" dirty="0">
              <a:solidFill>
                <a:srgbClr val="505050"/>
              </a:solidFill>
              <a:latin typeface="Segoe UI Light"/>
            </a:endParaRPr>
          </a:p>
          <a:p>
            <a:pPr defTabSz="913505">
              <a:defRPr/>
            </a:pPr>
            <a:r>
              <a:rPr lang="EN-US" sz="2353" b="1" dirty="0">
                <a:gradFill>
                  <a:gsLst>
                    <a:gs pos="2920">
                      <a:srgbClr val="505050"/>
                    </a:gs>
                    <a:gs pos="39000">
                      <a:srgbClr val="505050"/>
                    </a:gs>
                  </a:gsLst>
                  <a:lin ang="5400000" scaled="0"/>
                </a:gradFill>
                <a:latin typeface="Segoe UI Light"/>
              </a:rPr>
              <a:t>Reference / Augmentation</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Azure </a:t>
            </a:r>
            <a:r>
              <a:rPr lang="EN-US" sz="1961" dirty="0">
                <a:solidFill>
                  <a:srgbClr val="0072C6">
                    <a:lumMod val="50000"/>
                  </a:srgbClr>
                </a:solidFill>
                <a:latin typeface="Segoe UI Light"/>
              </a:rPr>
              <a:t>Machine Learning</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Blob storage</a:t>
            </a:r>
          </a:p>
          <a:p>
            <a:pPr defTabSz="913505">
              <a:defRPr/>
            </a:pPr>
            <a:endParaRPr lang="en-US" sz="2353" b="1" dirty="0">
              <a:gradFill>
                <a:gsLst>
                  <a:gs pos="2920">
                    <a:srgbClr val="505050"/>
                  </a:gs>
                  <a:gs pos="39000">
                    <a:srgbClr val="505050"/>
                  </a:gs>
                </a:gsLst>
                <a:lin ang="5400000" scaled="0"/>
              </a:gradFill>
              <a:latin typeface="Segoe UI Light"/>
            </a:endParaRPr>
          </a:p>
          <a:p>
            <a:pPr defTabSz="913505">
              <a:defRPr/>
            </a:pPr>
            <a:r>
              <a:rPr lang="EN-US" sz="2353" b="1" dirty="0">
                <a:gradFill>
                  <a:gsLst>
                    <a:gs pos="2920">
                      <a:srgbClr val="505050"/>
                    </a:gs>
                    <a:gs pos="39000">
                      <a:srgbClr val="505050"/>
                    </a:gs>
                  </a:gsLst>
                  <a:lin ang="5400000" scaled="0"/>
                </a:gradFill>
                <a:latin typeface="Segoe UI Light"/>
              </a:rPr>
              <a:t>Egress</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Live Dashboards: PowerBI</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Driving workflows: Event Hubs, Service Bus</a:t>
            </a:r>
            <a:endParaRPr lang="EN-US" sz="1961" dirty="0">
              <a:solidFill>
                <a:srgbClr val="0072C6">
                  <a:lumMod val="50000"/>
                </a:srgbClr>
              </a:solidFill>
              <a:latin typeface="Segoe UI Light"/>
            </a:endParaRP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Archiving and post analysis: Blob Storage,  Document DB, Data Lake, SQL Server, Table Storage </a:t>
            </a:r>
            <a:endParaRPr lang="EN-US" sz="2353" dirty="0">
              <a:solidFill>
                <a:srgbClr val="0072C6">
                  <a:lumMod val="50000"/>
                </a:srgbClr>
              </a:solidFill>
              <a:latin typeface="Segoe UI Light"/>
            </a:endParaRPr>
          </a:p>
        </p:txBody>
      </p:sp>
    </p:spTree>
    <p:extLst>
      <p:ext uri="{BB962C8B-B14F-4D97-AF65-F5344CB8AC3E}">
        <p14:creationId xmlns:p14="http://schemas.microsoft.com/office/powerpoint/2010/main" val="34196342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0FDF66-92D6-4DE9-BEDA-B3D8D671500A}"/>
              </a:ext>
            </a:extLst>
          </p:cNvPr>
          <p:cNvSpPr>
            <a:spLocks noGrp="1"/>
          </p:cNvSpPr>
          <p:nvPr>
            <p:ph type="body" sz="quarter" idx="11"/>
          </p:nvPr>
        </p:nvSpPr>
        <p:spPr>
          <a:xfrm>
            <a:off x="269240" y="1189176"/>
            <a:ext cx="11655840" cy="1924566"/>
          </a:xfrm>
        </p:spPr>
        <p:txBody>
          <a:bodyPr/>
          <a:lstStyle/>
          <a:p>
            <a:r>
              <a:rPr lang="en-US" dirty="0"/>
              <a:t>SUs provide a way to describe the relative event processing capacity based on a blended measure of CPU, memory, and read and write rates. </a:t>
            </a:r>
          </a:p>
        </p:txBody>
      </p:sp>
      <p:sp>
        <p:nvSpPr>
          <p:cNvPr id="3" name="Title 2">
            <a:extLst>
              <a:ext uri="{FF2B5EF4-FFF2-40B4-BE49-F238E27FC236}">
                <a16:creationId xmlns:a16="http://schemas.microsoft.com/office/drawing/2014/main" id="{4DB0329C-D5CD-4E06-8EC2-8B1F0365D994}"/>
              </a:ext>
            </a:extLst>
          </p:cNvPr>
          <p:cNvSpPr>
            <a:spLocks noGrp="1"/>
          </p:cNvSpPr>
          <p:nvPr>
            <p:ph type="title"/>
          </p:nvPr>
        </p:nvSpPr>
        <p:spPr/>
        <p:txBody>
          <a:bodyPr/>
          <a:lstStyle/>
          <a:p>
            <a:r>
              <a:rPr lang="en-US" dirty="0"/>
              <a:t>Streaming Units</a:t>
            </a:r>
          </a:p>
        </p:txBody>
      </p:sp>
      <p:sp>
        <p:nvSpPr>
          <p:cNvPr id="4" name="TextBox 3">
            <a:extLst>
              <a:ext uri="{FF2B5EF4-FFF2-40B4-BE49-F238E27FC236}">
                <a16:creationId xmlns:a16="http://schemas.microsoft.com/office/drawing/2014/main" id="{A973C740-B244-4F13-8E5F-C760B7FBA9D1}"/>
              </a:ext>
            </a:extLst>
          </p:cNvPr>
          <p:cNvSpPr txBox="1"/>
          <p:nvPr/>
        </p:nvSpPr>
        <p:spPr>
          <a:xfrm>
            <a:off x="555674" y="3334043"/>
            <a:ext cx="10276449" cy="4056495"/>
          </a:xfrm>
          <a:prstGeom prst="rect">
            <a:avLst/>
          </a:prstGeom>
          <a:noFill/>
        </p:spPr>
        <p:txBody>
          <a:bodyPr wrap="square" lIns="182880" tIns="146304" rIns="182880" bIns="146304" rtlCol="0">
            <a:spAutoFit/>
          </a:bodyPr>
          <a:lstStyle/>
          <a:p>
            <a:pPr>
              <a:lnSpc>
                <a:spcPct val="90000"/>
              </a:lnSpc>
              <a:spcAft>
                <a:spcPts val="600"/>
              </a:spcAft>
            </a:pPr>
            <a:r>
              <a:rPr lang="en-US" sz="2400" dirty="0"/>
              <a:t>Factors increasing SU% utilization</a:t>
            </a:r>
          </a:p>
          <a:p>
            <a:pPr marL="342900" indent="-342900">
              <a:lnSpc>
                <a:spcPct val="90000"/>
              </a:lnSpc>
              <a:spcAft>
                <a:spcPts val="600"/>
              </a:spcAft>
              <a:buFont typeface="Arial" panose="020B0604020202020204" pitchFamily="34" charset="0"/>
              <a:buChar char="•"/>
            </a:pPr>
            <a:r>
              <a:rPr lang="en-US" dirty="0" err="1">
                <a:gradFill>
                  <a:gsLst>
                    <a:gs pos="2917">
                      <a:schemeClr val="tx2"/>
                    </a:gs>
                    <a:gs pos="30000">
                      <a:schemeClr val="tx2"/>
                    </a:gs>
                  </a:gsLst>
                  <a:lin ang="5400000" scaled="0"/>
                </a:gradFill>
                <a:latin typeface="+mn-lt"/>
              </a:rPr>
              <a:t>Stateful</a:t>
            </a:r>
            <a:r>
              <a:rPr lang="en-US" dirty="0">
                <a:gradFill>
                  <a:gsLst>
                    <a:gs pos="2917">
                      <a:schemeClr val="tx2"/>
                    </a:gs>
                    <a:gs pos="30000">
                      <a:schemeClr val="tx2"/>
                    </a:gs>
                  </a:gsLst>
                  <a:lin ang="5400000" scaled="0"/>
                </a:gradFill>
                <a:latin typeface="+mn-lt"/>
              </a:rPr>
              <a:t> Query Logic – ameliorate with partitioning</a:t>
            </a:r>
          </a:p>
          <a:p>
            <a:pPr marL="800100" lvl="1"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Windowed Aggregates </a:t>
            </a:r>
          </a:p>
          <a:p>
            <a:pPr marL="800100" lvl="1"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Temporal Joins</a:t>
            </a:r>
          </a:p>
          <a:p>
            <a:pPr marL="800100" lvl="1"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Temporal Analytic Functions</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Out of Order Buffer</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Input Buffer Count</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Reference Data</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User Defined Functio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2"/>
                  </a:gs>
                  <a:gs pos="30000">
                    <a:schemeClr val="tx2"/>
                  </a:gs>
                </a:gsLst>
                <a:lin ang="5400000" scaled="0"/>
              </a:gradFill>
            </a:endParaRPr>
          </a:p>
          <a:p>
            <a:pPr marL="800100" lvl="1" indent="-342900">
              <a:lnSpc>
                <a:spcPct val="90000"/>
              </a:lnSpc>
              <a:spcAft>
                <a:spcPts val="600"/>
              </a:spcAft>
              <a:buFont typeface="Arial" panose="020B0604020202020204" pitchFamily="34" charset="0"/>
              <a:buChar char="•"/>
            </a:pPr>
            <a:endParaRPr lang="en-US" sz="2400" dirty="0">
              <a:gradFill>
                <a:gsLst>
                  <a:gs pos="2917">
                    <a:schemeClr val="tx2"/>
                  </a:gs>
                  <a:gs pos="30000">
                    <a:schemeClr val="tx2"/>
                  </a:gs>
                </a:gsLst>
                <a:lin ang="5400000" scaled="0"/>
              </a:gradFill>
              <a:latin typeface="+mn-lt"/>
            </a:endParaRPr>
          </a:p>
        </p:txBody>
      </p:sp>
    </p:spTree>
    <p:extLst>
      <p:ext uri="{BB962C8B-B14F-4D97-AF65-F5344CB8AC3E}">
        <p14:creationId xmlns:p14="http://schemas.microsoft.com/office/powerpoint/2010/main" val="3792967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7713" y="217268"/>
            <a:ext cx="11653426" cy="899410"/>
          </a:xfrm>
        </p:spPr>
        <p:txBody>
          <a:bodyPr/>
          <a:lstStyle/>
          <a:p>
            <a:r>
              <a:rPr lang="en-US" sz="4704"/>
              <a:t>Events and Time</a:t>
            </a:r>
          </a:p>
        </p:txBody>
      </p:sp>
      <p:sp>
        <p:nvSpPr>
          <p:cNvPr id="5" name="Text Placeholder 4"/>
          <p:cNvSpPr>
            <a:spLocks noGrp="1"/>
          </p:cNvSpPr>
          <p:nvPr>
            <p:ph type="body" sz="quarter" idx="4294967295"/>
          </p:nvPr>
        </p:nvSpPr>
        <p:spPr>
          <a:xfrm>
            <a:off x="419449" y="964182"/>
            <a:ext cx="11502487" cy="4863703"/>
          </a:xfrm>
        </p:spPr>
        <p:txBody>
          <a:bodyPr/>
          <a:lstStyle/>
          <a:p>
            <a:r>
              <a:rPr lang="en-US" sz="3137">
                <a:solidFill>
                  <a:srgbClr val="7FBA00"/>
                </a:solidFill>
              </a:rPr>
              <a:t>Every event that flows through the system has a timestamp</a:t>
            </a:r>
            <a:endParaRPr lang="en-US">
              <a:solidFill>
                <a:srgbClr val="7FBA00"/>
              </a:solidFill>
              <a:latin typeface="+mj-lt"/>
            </a:endParaRPr>
          </a:p>
          <a:p>
            <a:pPr marL="0" lvl="1" indent="0">
              <a:buNone/>
            </a:pPr>
            <a:endParaRPr lang="en-US"/>
          </a:p>
          <a:p>
            <a:pPr marL="0" lvl="1" indent="0">
              <a:buNone/>
            </a:pPr>
            <a:r>
              <a:rPr lang="en-US"/>
              <a:t>User can pick it from the payload</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chemeClr val="tx2">
                    <a:lumMod val="75000"/>
                  </a:schemeClr>
                </a:solidFill>
                <a:latin typeface="Consolas"/>
              </a:rPr>
              <a:t> </a:t>
            </a:r>
            <a:r>
              <a:rPr lang="en-US" sz="2353">
                <a:latin typeface="Consolas"/>
              </a:rPr>
              <a:t>* </a:t>
            </a:r>
            <a:r>
              <a:rPr lang="en-US" sz="2353">
                <a:solidFill>
                  <a:schemeClr val="tx2">
                    <a:lumMod val="60000"/>
                    <a:lumOff val="40000"/>
                  </a:schemeClr>
                </a:solidFill>
                <a:latin typeface="Consolas"/>
              </a:rPr>
              <a:t>FROM</a:t>
            </a:r>
            <a:r>
              <a:rPr lang="en-US" sz="2353">
                <a:solidFill>
                  <a:schemeClr val="tx2">
                    <a:lumMod val="75000"/>
                  </a:schemeClr>
                </a:solidFill>
                <a:latin typeface="Consolas"/>
              </a:rPr>
              <a:t> </a:t>
            </a:r>
            <a:r>
              <a:rPr lang="en-US" sz="2353" err="1">
                <a:solidFill>
                  <a:schemeClr val="tx2">
                    <a:lumMod val="10000"/>
                  </a:schemeClr>
                </a:solidFill>
                <a:latin typeface="Consolas"/>
              </a:rPr>
              <a:t>TwitterStream</a:t>
            </a:r>
            <a:r>
              <a:rPr lang="en-US" sz="2353">
                <a:solidFill>
                  <a:schemeClr val="tx2">
                    <a:lumMod val="75000"/>
                  </a:schemeClr>
                </a:solidFill>
                <a:latin typeface="Consolas"/>
              </a:rPr>
              <a:t> </a:t>
            </a:r>
            <a:r>
              <a:rPr lang="en-US" sz="2353">
                <a:solidFill>
                  <a:schemeClr val="tx2">
                    <a:lumMod val="60000"/>
                    <a:lumOff val="40000"/>
                  </a:schemeClr>
                </a:solidFill>
                <a:latin typeface="Consolas"/>
              </a:rPr>
              <a:t>TIMESTAMP</a:t>
            </a:r>
            <a:r>
              <a:rPr lang="en-US" sz="2353">
                <a:solidFill>
                  <a:srgbClr val="7030A0"/>
                </a:solidFill>
                <a:latin typeface="Consolas"/>
              </a:rPr>
              <a:t> </a:t>
            </a:r>
            <a:r>
              <a:rPr lang="en-US" sz="2353">
                <a:solidFill>
                  <a:schemeClr val="tx2">
                    <a:lumMod val="60000"/>
                    <a:lumOff val="40000"/>
                  </a:schemeClr>
                </a:solidFill>
                <a:latin typeface="Consolas"/>
              </a:rPr>
              <a:t>BY</a:t>
            </a:r>
            <a:r>
              <a:rPr lang="en-US" sz="2353">
                <a:solidFill>
                  <a:schemeClr val="tx2">
                    <a:lumMod val="75000"/>
                  </a:schemeClr>
                </a:solidFill>
                <a:latin typeface="Consolas"/>
              </a:rPr>
              <a:t> </a:t>
            </a:r>
            <a:r>
              <a:rPr lang="en-US" sz="2353" err="1">
                <a:latin typeface="Consolas"/>
              </a:rPr>
              <a:t>CreatedAt</a:t>
            </a:r>
            <a:endParaRPr lang="en-US" sz="2353">
              <a:latin typeface="Consolas"/>
            </a:endParaRPr>
          </a:p>
          <a:p>
            <a:pPr marL="0" lvl="1" indent="0">
              <a:buNone/>
            </a:pPr>
            <a:endParaRPr lang="en-US"/>
          </a:p>
          <a:p>
            <a:pPr marL="0" lvl="1" indent="0">
              <a:buNone/>
            </a:pPr>
            <a:r>
              <a:rPr lang="en-US"/>
              <a:t>Or the system can assign timestamps automatically based on the event arrival time</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rgbClr val="505050">
                    <a:lumMod val="75000"/>
                  </a:srgbClr>
                </a:solidFill>
                <a:latin typeface="Consolas"/>
              </a:rPr>
              <a:t> </a:t>
            </a:r>
            <a:r>
              <a:rPr lang="en-US" sz="2353">
                <a:gradFill>
                  <a:gsLst>
                    <a:gs pos="1250">
                      <a:srgbClr val="505050"/>
                    </a:gs>
                    <a:gs pos="99000">
                      <a:srgbClr val="505050"/>
                    </a:gs>
                  </a:gsLst>
                  <a:lin ang="5400000" scaled="0"/>
                </a:gradFill>
                <a:latin typeface="Consolas"/>
              </a:rPr>
              <a:t>* </a:t>
            </a:r>
            <a:r>
              <a:rPr lang="en-US" sz="2353">
                <a:solidFill>
                  <a:schemeClr val="tx2">
                    <a:lumMod val="60000"/>
                    <a:lumOff val="40000"/>
                  </a:schemeClr>
                </a:solidFill>
                <a:latin typeface="Consolas"/>
              </a:rPr>
              <a:t>FROM</a:t>
            </a:r>
            <a:r>
              <a:rPr lang="en-US" sz="2353">
                <a:solidFill>
                  <a:srgbClr val="505050">
                    <a:lumMod val="75000"/>
                  </a:srgbClr>
                </a:solidFill>
                <a:latin typeface="Consolas"/>
              </a:rPr>
              <a:t> </a:t>
            </a:r>
            <a:r>
              <a:rPr lang="en-US" sz="2353" err="1">
                <a:solidFill>
                  <a:schemeClr val="tx2">
                    <a:lumMod val="10000"/>
                  </a:schemeClr>
                </a:solidFill>
                <a:latin typeface="Consolas"/>
              </a:rPr>
              <a:t>TwitterStream</a:t>
            </a:r>
            <a:endParaRPr lang="en-US" sz="2353">
              <a:solidFill>
                <a:schemeClr val="tx2">
                  <a:lumMod val="10000"/>
                </a:schemeClr>
              </a:solidFill>
            </a:endParaRPr>
          </a:p>
          <a:p>
            <a:endParaRPr lang="en-US" sz="1961">
              <a:solidFill>
                <a:srgbClr val="002050">
                  <a:lumMod val="50000"/>
                  <a:lumOff val="50000"/>
                </a:srgbClr>
              </a:solidFill>
              <a:latin typeface="Consolas"/>
            </a:endParaRPr>
          </a:p>
          <a:p>
            <a:r>
              <a:rPr lang="en-US" sz="3137">
                <a:solidFill>
                  <a:srgbClr val="7FBA00"/>
                </a:solidFill>
              </a:rPr>
              <a:t>Projecting timestamp into payload</a:t>
            </a:r>
          </a:p>
          <a:p>
            <a:r>
              <a:rPr lang="en-US" sz="2353">
                <a:solidFill>
                  <a:schemeClr val="accent1">
                    <a:lumMod val="50000"/>
                    <a:lumOff val="50000"/>
                  </a:schemeClr>
                </a:solidFill>
                <a:latin typeface="Consolas"/>
              </a:rPr>
              <a:t>	</a:t>
            </a:r>
            <a:r>
              <a:rPr lang="en-US" sz="2353">
                <a:solidFill>
                  <a:schemeClr val="tx2">
                    <a:lumMod val="60000"/>
                    <a:lumOff val="40000"/>
                  </a:schemeClr>
                </a:solidFill>
                <a:latin typeface="Consolas"/>
              </a:rPr>
              <a:t>SELECT</a:t>
            </a:r>
            <a:r>
              <a:rPr lang="en-US" sz="2353">
                <a:latin typeface="Consolas"/>
              </a:rPr>
              <a:t> </a:t>
            </a:r>
            <a:r>
              <a:rPr lang="en-US" sz="2353" err="1">
                <a:solidFill>
                  <a:srgbClr val="7030A0"/>
                </a:solidFill>
                <a:latin typeface="Consolas"/>
              </a:rPr>
              <a:t>System.Timestamp</a:t>
            </a:r>
            <a:r>
              <a:rPr lang="en-US" sz="2353">
                <a:latin typeface="Consolas"/>
              </a:rPr>
              <a:t> </a:t>
            </a:r>
            <a:r>
              <a:rPr lang="en-US" sz="2353">
                <a:solidFill>
                  <a:schemeClr val="tx2">
                    <a:lumMod val="60000"/>
                    <a:lumOff val="40000"/>
                  </a:schemeClr>
                </a:solidFill>
                <a:latin typeface="Consolas"/>
              </a:rPr>
              <a:t>AS</a:t>
            </a:r>
            <a:r>
              <a:rPr lang="en-US" sz="2353">
                <a:latin typeface="Consolas"/>
              </a:rPr>
              <a:t> Time, Text </a:t>
            </a:r>
            <a:r>
              <a:rPr lang="en-US" sz="2353">
                <a:solidFill>
                  <a:schemeClr val="tx2">
                    <a:lumMod val="60000"/>
                    <a:lumOff val="40000"/>
                  </a:schemeClr>
                </a:solidFill>
                <a:latin typeface="Consolas"/>
              </a:rPr>
              <a:t>FROM</a:t>
            </a:r>
            <a:r>
              <a:rPr lang="en-US" sz="2353">
                <a:latin typeface="Consolas"/>
              </a:rPr>
              <a:t> </a:t>
            </a:r>
            <a:r>
              <a:rPr lang="en-US" sz="2353" err="1">
                <a:solidFill>
                  <a:schemeClr val="tx2">
                    <a:lumMod val="10000"/>
                  </a:schemeClr>
                </a:solidFill>
                <a:latin typeface="Consolas"/>
              </a:rPr>
              <a:t>TwitterStream</a:t>
            </a:r>
            <a:r>
              <a:rPr lang="en-US" sz="2353">
                <a:solidFill>
                  <a:schemeClr val="tx2">
                    <a:lumMod val="60000"/>
                    <a:lumOff val="40000"/>
                  </a:schemeClr>
                </a:solidFill>
                <a:latin typeface="Consolas"/>
              </a:rPr>
              <a:t> </a:t>
            </a:r>
            <a:endParaRPr lang="en-US" sz="2353">
              <a:latin typeface="Consolas"/>
            </a:endParaRPr>
          </a:p>
          <a:p>
            <a:endParaRPr lang="en-US" sz="1961">
              <a:latin typeface="Consolas"/>
            </a:endParaRPr>
          </a:p>
          <a:p>
            <a:r>
              <a:rPr lang="en-US" sz="1567"/>
              <a:t>Note:  </a:t>
            </a:r>
            <a:r>
              <a:rPr lang="en-US" sz="1567" err="1">
                <a:latin typeface="Consolas"/>
              </a:rPr>
              <a:t>System.Timestamp</a:t>
            </a:r>
            <a:r>
              <a:rPr lang="en-US" sz="1567">
                <a:latin typeface="Consolas"/>
              </a:rPr>
              <a:t> </a:t>
            </a:r>
            <a:r>
              <a:rPr lang="en-US" sz="1567"/>
              <a:t>is a reserved property that exposes the timestamp of an event.</a:t>
            </a:r>
          </a:p>
        </p:txBody>
      </p:sp>
    </p:spTree>
    <p:extLst>
      <p:ext uri="{BB962C8B-B14F-4D97-AF65-F5344CB8AC3E}">
        <p14:creationId xmlns:p14="http://schemas.microsoft.com/office/powerpoint/2010/main" val="1972540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t>Big Data Lambda Architecture</a:t>
            </a:r>
            <a:br>
              <a:rPr lang="en-US"/>
            </a:br>
            <a:br>
              <a:rPr lang="en-US" sz="1600"/>
            </a:br>
            <a:r>
              <a:rPr lang="en-US" sz="2200"/>
              <a:t>Meant to be generic, fault tolerant  and outwardly scalable to support a wide range of workloads and use cases.</a:t>
            </a:r>
            <a:br>
              <a:rPr lang="en-US"/>
            </a:br>
            <a:endParaRPr lang="en-US"/>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353" kern="0" spc="0">
                <a:solidFill>
                  <a:srgbClr val="FFFFFF"/>
                </a:solidFill>
              </a:rPr>
              <a:t>Batch layer</a:t>
            </a:r>
          </a:p>
          <a:p>
            <a:pPr marL="614539" indent="-336080">
              <a:spcAft>
                <a:spcPts val="588"/>
              </a:spcAft>
              <a:buFont typeface="Arial" panose="020B0604020202020204" pitchFamily="34" charset="0"/>
              <a:buChar char="•"/>
            </a:pPr>
            <a:r>
              <a:rPr sz="1765" kern="0" spc="0">
                <a:solidFill>
                  <a:srgbClr val="FFFFFF"/>
                </a:solidFill>
              </a:rPr>
              <a:t>Stores master dataset</a:t>
            </a:r>
          </a:p>
          <a:p>
            <a:pPr marL="614539" indent="-336080">
              <a:spcAft>
                <a:spcPts val="588"/>
              </a:spcAft>
              <a:buFont typeface="Arial" panose="020B0604020202020204" pitchFamily="34" charset="0"/>
              <a:buChar char="•"/>
            </a:pPr>
            <a:r>
              <a:rPr sz="1765" kern="0" spc="0">
                <a:solidFill>
                  <a:srgbClr val="FFFFFF"/>
                </a:solidFill>
              </a:rPr>
              <a:t>Compute arbitrary views</a:t>
            </a:r>
          </a:p>
          <a:p>
            <a:pPr marL="336015" indent="-336015">
              <a:spcBef>
                <a:spcPts val="1175"/>
              </a:spcBef>
              <a:spcAft>
                <a:spcPts val="588"/>
              </a:spcAft>
              <a:buFont typeface="Arial" panose="020B0604020202020204" pitchFamily="34" charset="0"/>
              <a:buChar char="•"/>
            </a:pPr>
            <a:r>
              <a:rPr sz="2353" kern="0" spc="0">
                <a:solidFill>
                  <a:srgbClr val="FFFFFF"/>
                </a:solidFill>
              </a:rPr>
              <a:t>Speed layer</a:t>
            </a:r>
          </a:p>
          <a:p>
            <a:pPr marL="614539" indent="-336080">
              <a:spcAft>
                <a:spcPts val="588"/>
              </a:spcAft>
              <a:buFont typeface="Arial" panose="020B0604020202020204" pitchFamily="34" charset="0"/>
              <a:buChar char="•"/>
            </a:pPr>
            <a:r>
              <a:rPr sz="1765" kern="0" spc="0">
                <a:solidFill>
                  <a:srgbClr val="FFFFFF"/>
                </a:solidFill>
              </a:rPr>
              <a:t>Fast, incremental algorithms</a:t>
            </a:r>
          </a:p>
          <a:p>
            <a:pPr marL="614539" indent="-336080">
              <a:spcAft>
                <a:spcPts val="588"/>
              </a:spcAft>
              <a:buFont typeface="Arial" panose="020B0604020202020204" pitchFamily="34" charset="0"/>
              <a:buChar char="•"/>
            </a:pPr>
            <a:r>
              <a:rPr sz="1765" kern="0" spc="0">
                <a:solidFill>
                  <a:srgbClr val="FFFFFF"/>
                </a:solidFill>
              </a:rPr>
              <a:t>Batch layer eventually overrides speed layer</a:t>
            </a:r>
          </a:p>
          <a:p>
            <a:pPr marL="336015" indent="-336015">
              <a:spcBef>
                <a:spcPts val="1175"/>
              </a:spcBef>
              <a:spcAft>
                <a:spcPts val="588"/>
              </a:spcAft>
              <a:buFont typeface="Arial" panose="020B0604020202020204" pitchFamily="34" charset="0"/>
              <a:buChar char="•"/>
            </a:pPr>
            <a:r>
              <a:rPr sz="2353" kern="0" spc="0">
                <a:solidFill>
                  <a:srgbClr val="FFFFFF"/>
                </a:solidFill>
              </a:rPr>
              <a:t>Serving layer</a:t>
            </a:r>
          </a:p>
          <a:p>
            <a:pPr marL="614539" indent="-336080">
              <a:spcAft>
                <a:spcPts val="588"/>
              </a:spcAft>
              <a:buFont typeface="Arial" panose="020B0604020202020204" pitchFamily="34" charset="0"/>
              <a:buChar char="•"/>
            </a:pPr>
            <a:r>
              <a:rPr sz="1765" kern="0" spc="0">
                <a:solidFill>
                  <a:srgbClr val="FFFFFF"/>
                </a:solidFill>
              </a:rPr>
              <a:t>Random access to batch views</a:t>
            </a:r>
          </a:p>
          <a:p>
            <a:pPr marL="614539" indent="-336080">
              <a:spcAft>
                <a:spcPts val="588"/>
              </a:spcAft>
              <a:buFont typeface="Arial" panose="020B0604020202020204" pitchFamily="34" charset="0"/>
              <a:buChar char="•"/>
            </a:pPr>
            <a:r>
              <a:rPr sz="1765" kern="0" spc="0">
                <a:solidFill>
                  <a:srgbClr val="FFFFFF"/>
                </a:solidFill>
              </a:rPr>
              <a:t>Updated by batch layer</a:t>
            </a:r>
          </a:p>
        </p:txBody>
      </p:sp>
      <p:sp>
        <p:nvSpPr>
          <p:cNvPr id="2" name="Rectangle 1"/>
          <p:cNvSpPr/>
          <p:nvPr/>
        </p:nvSpPr>
        <p:spPr bwMode="auto">
          <a:xfrm>
            <a:off x="7104215" y="4642410"/>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erving Layer</a:t>
            </a:r>
          </a:p>
        </p:txBody>
      </p:sp>
      <p:sp>
        <p:nvSpPr>
          <p:cNvPr id="29" name="Rectangle 28"/>
          <p:cNvSpPr/>
          <p:nvPr/>
        </p:nvSpPr>
        <p:spPr bwMode="auto">
          <a:xfrm>
            <a:off x="7104215" y="3465114"/>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peed Layer</a:t>
            </a:r>
          </a:p>
        </p:txBody>
      </p:sp>
      <p:sp>
        <p:nvSpPr>
          <p:cNvPr id="31" name="Rectangle 30"/>
          <p:cNvSpPr/>
          <p:nvPr/>
        </p:nvSpPr>
        <p:spPr bwMode="auto">
          <a:xfrm>
            <a:off x="7104215" y="2287818"/>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Batch Layer</a:t>
            </a:r>
          </a:p>
        </p:txBody>
      </p:sp>
    </p:spTree>
    <p:extLst>
      <p:ext uri="{BB962C8B-B14F-4D97-AF65-F5344CB8AC3E}">
        <p14:creationId xmlns:p14="http://schemas.microsoft.com/office/powerpoint/2010/main" val="196570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Tumbling Windows</a:t>
            </a:r>
          </a:p>
        </p:txBody>
      </p:sp>
      <p:sp>
        <p:nvSpPr>
          <p:cNvPr id="4" name="Rectangle 3"/>
          <p:cNvSpPr/>
          <p:nvPr/>
        </p:nvSpPr>
        <p:spPr>
          <a:xfrm>
            <a:off x="447158" y="5057193"/>
            <a:ext cx="10159481" cy="1202066"/>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 </a:t>
            </a:r>
            <a:r>
              <a:rPr lang="en-US" sz="2353" kern="0" err="1">
                <a:solidFill>
                  <a:sysClr val="windowText" lastClr="000000"/>
                </a:solidFill>
                <a:latin typeface="Consolas"/>
              </a:rPr>
              <a:t>TimeZone</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AS Count </a:t>
            </a:r>
          </a:p>
          <a:p>
            <a:pPr defTabSz="896386">
              <a:defRPr/>
            </a:pPr>
            <a:r>
              <a:rPr lang="en-US" sz="2353" kern="0">
                <a:solidFill>
                  <a:schemeClr val="tx2">
                    <a:lumMod val="60000"/>
                    <a:lumOff val="40000"/>
                  </a:schemeClr>
                </a:solidFill>
                <a:latin typeface="Consolas"/>
              </a:rPr>
              <a:t>FROM</a:t>
            </a:r>
            <a:r>
              <a:rPr lang="en-US" sz="2353" kern="0">
                <a:solidFill>
                  <a:schemeClr val="tx2">
                    <a:lumMod val="75000"/>
                  </a:schemeClr>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chemeClr val="tx2">
                    <a:lumMod val="75000"/>
                  </a:schemeClr>
                </a:solidFill>
                <a:latin typeface="Consolas"/>
              </a:rPr>
              <a:t> </a:t>
            </a:r>
            <a:r>
              <a:rPr lang="en-US" sz="2353" kern="0" err="1">
                <a:solidFill>
                  <a:sysClr val="windowText" lastClr="000000"/>
                </a:solidFill>
                <a:latin typeface="Consolas"/>
              </a:rPr>
              <a:t>CreatedAt</a:t>
            </a:r>
            <a:r>
              <a:rPr lang="en-US" sz="2353" kern="0">
                <a:solidFill>
                  <a:schemeClr val="tx2">
                    <a:lumMod val="60000"/>
                    <a:lumOff val="40000"/>
                  </a:schemeClr>
                </a:solidFill>
                <a:latin typeface="Consolas"/>
              </a:rPr>
              <a:t> </a:t>
            </a:r>
            <a:endParaRPr lang="en-US" sz="2353" kern="0">
              <a:solidFill>
                <a:sysClr val="windowText" lastClr="000000"/>
              </a:solidFill>
              <a:latin typeface="Consolas"/>
            </a:endParaRPr>
          </a:p>
          <a:p>
            <a:pPr defTabSz="896386">
              <a:lnSpc>
                <a:spcPct val="107000"/>
              </a:lnSpc>
              <a:spcAft>
                <a:spcPts val="784"/>
              </a:spcAft>
              <a:defRPr/>
            </a:pPr>
            <a:r>
              <a:rPr lang="en-US" sz="2353" kern="0">
                <a:solidFill>
                  <a:schemeClr val="tx2">
                    <a:lumMod val="60000"/>
                    <a:lumOff val="40000"/>
                  </a:schemeClr>
                </a:solidFill>
                <a:latin typeface="Consolas"/>
              </a:rPr>
              <a:t>GROU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TimeZone</a:t>
            </a:r>
            <a:r>
              <a:rPr lang="en-US" sz="2353" kern="0">
                <a:solidFill>
                  <a:sysClr val="windowText" lastClr="000000"/>
                </a:solidFill>
                <a:latin typeface="Consolas"/>
              </a:rPr>
              <a:t>,</a:t>
            </a:r>
            <a:r>
              <a:rPr lang="en-US" sz="2353" kern="0">
                <a:solidFill>
                  <a:schemeClr val="tx2">
                    <a:lumMod val="75000"/>
                  </a:schemeClr>
                </a:solidFill>
                <a:latin typeface="Consolas"/>
              </a:rPr>
              <a:t> </a:t>
            </a:r>
            <a:r>
              <a:rPr lang="en-US" sz="2353" kern="0" err="1">
                <a:solidFill>
                  <a:srgbClr val="7030A0"/>
                </a:solidFill>
                <a:latin typeface="Consolas"/>
              </a:rPr>
              <a:t>TumblingWindow</a:t>
            </a:r>
            <a:r>
              <a:rPr lang="en-US" sz="2353" kern="0">
                <a:solidFill>
                  <a:sysClr val="windowText" lastClr="000000"/>
                </a:solidFill>
                <a:latin typeface="Consolas"/>
              </a:rPr>
              <a:t>(second,10)</a:t>
            </a:r>
            <a:r>
              <a:rPr lang="en-US" sz="2353" b="1" kern="0">
                <a:solidFill>
                  <a:srgbClr val="7030A0"/>
                </a:solidFill>
                <a:latin typeface="Consolas"/>
              </a:rPr>
              <a:t> </a:t>
            </a:r>
            <a:endParaRPr lang="en-US" sz="2353" kern="0">
              <a:solidFill>
                <a:sysClr val="windowText" lastClr="000000"/>
              </a:solidFill>
              <a:latin typeface="Consolas"/>
            </a:endParaRPr>
          </a:p>
        </p:txBody>
      </p:sp>
      <p:sp>
        <p:nvSpPr>
          <p:cNvPr id="6" name="Rectangle 5"/>
          <p:cNvSpPr/>
          <p:nvPr/>
        </p:nvSpPr>
        <p:spPr>
          <a:xfrm>
            <a:off x="447159" y="1141403"/>
            <a:ext cx="7513595" cy="454420"/>
          </a:xfrm>
          <a:prstGeom prst="rect">
            <a:avLst/>
          </a:prstGeom>
        </p:spPr>
        <p:txBody>
          <a:bodyPr wrap="non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Tell me the count of tweets per time zone every 10 seconds</a:t>
            </a:r>
            <a:endParaRPr lang="en-US" sz="2353" kern="0" dirty="0">
              <a:solidFill>
                <a:srgbClr val="7FBA00"/>
              </a:solidFill>
            </a:endParaRPr>
          </a:p>
        </p:txBody>
      </p:sp>
      <p:grpSp>
        <p:nvGrpSpPr>
          <p:cNvPr id="8" name="Group 7"/>
          <p:cNvGrpSpPr/>
          <p:nvPr/>
        </p:nvGrpSpPr>
        <p:grpSpPr>
          <a:xfrm>
            <a:off x="2676017" y="2009661"/>
            <a:ext cx="5898790" cy="2696988"/>
            <a:chOff x="302422" y="1412770"/>
            <a:chExt cx="6527422" cy="3252944"/>
          </a:xfrm>
        </p:grpSpPr>
        <p:sp>
          <p:nvSpPr>
            <p:cNvPr id="9" name="Rounded Rectangle 8"/>
            <p:cNvSpPr/>
            <p:nvPr/>
          </p:nvSpPr>
          <p:spPr bwMode="auto">
            <a:xfrm>
              <a:off x="362738" y="3474950"/>
              <a:ext cx="1947944"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0" name="TextBox 19"/>
            <p:cNvSpPr txBox="1"/>
            <p:nvPr/>
          </p:nvSpPr>
          <p:spPr>
            <a:xfrm>
              <a:off x="1251131"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1" name="TextBox 20"/>
            <p:cNvSpPr txBox="1"/>
            <p:nvPr/>
          </p:nvSpPr>
          <p:spPr>
            <a:xfrm>
              <a:off x="4150873"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2" name="TextBox 21"/>
            <p:cNvSpPr txBox="1"/>
            <p:nvPr/>
          </p:nvSpPr>
          <p:spPr>
            <a:xfrm>
              <a:off x="2224800"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3" name="TextBox 22"/>
            <p:cNvSpPr txBox="1"/>
            <p:nvPr/>
          </p:nvSpPr>
          <p:spPr>
            <a:xfrm>
              <a:off x="3187836"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4" name="TextBox 23"/>
            <p:cNvSpPr txBox="1"/>
            <p:nvPr/>
          </p:nvSpPr>
          <p:spPr>
            <a:xfrm>
              <a:off x="6322881" y="2865446"/>
              <a:ext cx="506963" cy="593955"/>
            </a:xfrm>
            <a:prstGeom prst="rect">
              <a:avLst/>
            </a:prstGeom>
            <a:noFill/>
          </p:spPr>
          <p:txBody>
            <a:bodyPr wrap="none" lIns="0" tIns="0" rIns="0" bIns="0" rtlCol="0">
              <a:spAutoFit/>
            </a:bodyPr>
            <a:lstStyle/>
            <a:p>
              <a:pPr algn="ctr" defTabSz="896386">
                <a:defRPr/>
              </a:pPr>
              <a:r>
                <a:rPr lang="en-US" sz="1600" kern="0" spc="-70"/>
                <a:t>Time</a:t>
              </a:r>
            </a:p>
            <a:p>
              <a:pPr algn="ctr" defTabSz="896386">
                <a:defRPr/>
              </a:pPr>
              <a:r>
                <a:rPr lang="en-US" sz="1600" kern="0" spc="-70"/>
                <a:t> (</a:t>
              </a:r>
              <a:r>
                <a:rPr lang="en-US" sz="1600" kern="0" spc="-70" err="1"/>
                <a:t>secs</a:t>
              </a:r>
              <a:r>
                <a:rPr lang="en-US" sz="1600" kern="0" spc="-70"/>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2" name="Rounded Rectangle 31"/>
            <p:cNvSpPr/>
            <p:nvPr/>
          </p:nvSpPr>
          <p:spPr bwMode="auto">
            <a:xfrm>
              <a:off x="2286360" y="3863018"/>
              <a:ext cx="1922222"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5" name="TextBox 34"/>
            <p:cNvSpPr txBox="1"/>
            <p:nvPr/>
          </p:nvSpPr>
          <p:spPr>
            <a:xfrm>
              <a:off x="5054332"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lumMod val="95000"/>
                    </a:schemeClr>
                  </a:solidFill>
                </a:rPr>
                <a:t>A 10-second Tumbling Window</a:t>
              </a:r>
            </a:p>
          </p:txBody>
        </p:sp>
        <p:sp>
          <p:nvSpPr>
            <p:cNvPr id="37" name="TextBox 36"/>
            <p:cNvSpPr txBox="1"/>
            <p:nvPr/>
          </p:nvSpPr>
          <p:spPr>
            <a:xfrm>
              <a:off x="5977221"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2" name="Rounded Rectangle 41"/>
            <p:cNvSpPr/>
            <p:nvPr/>
          </p:nvSpPr>
          <p:spPr bwMode="auto">
            <a:xfrm>
              <a:off x="4216775" y="4257700"/>
              <a:ext cx="1864410"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grpSp>
    </p:spTree>
    <p:extLst>
      <p:ext uri="{BB962C8B-B14F-4D97-AF65-F5344CB8AC3E}">
        <p14:creationId xmlns:p14="http://schemas.microsoft.com/office/powerpoint/2010/main" val="471305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Hopping Windows</a:t>
            </a:r>
          </a:p>
        </p:txBody>
      </p:sp>
      <p:sp>
        <p:nvSpPr>
          <p:cNvPr id="6" name="Rectangle 5"/>
          <p:cNvSpPr/>
          <p:nvPr/>
        </p:nvSpPr>
        <p:spPr>
          <a:xfrm>
            <a:off x="442699" y="4997744"/>
            <a:ext cx="9986021" cy="1176733"/>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 </a:t>
            </a:r>
            <a:r>
              <a:rPr lang="en-US" sz="2353" kern="0">
                <a:solidFill>
                  <a:schemeClr val="tx2">
                    <a:lumMod val="60000"/>
                    <a:lumOff val="40000"/>
                  </a:schemeClr>
                </a:solidFill>
                <a:latin typeface="Consolas"/>
              </a:rPr>
              <a:t>AS</a:t>
            </a:r>
            <a:r>
              <a:rPr lang="en-US" sz="2353" kern="0">
                <a:solidFill>
                  <a:sysClr val="windowText" lastClr="000000"/>
                </a:solidFill>
                <a:latin typeface="Consolas"/>
              </a:rPr>
              <a:t> </a:t>
            </a:r>
            <a:r>
              <a:rPr lang="en-US" sz="2353" kern="0" err="1">
                <a:solidFill>
                  <a:sysClr val="windowText" lastClr="000000"/>
                </a:solidFill>
                <a:latin typeface="Consolas"/>
              </a:rPr>
              <a:t>TotalTweets</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HoppingWindow</a:t>
            </a:r>
            <a:r>
              <a:rPr lang="en-US" sz="2353" kern="0">
                <a:solidFill>
                  <a:sysClr val="windowText" lastClr="000000"/>
                </a:solidFill>
                <a:latin typeface="Consolas"/>
              </a:rPr>
              <a:t>(second, 10 , 5)</a:t>
            </a:r>
          </a:p>
        </p:txBody>
      </p:sp>
      <p:sp>
        <p:nvSpPr>
          <p:cNvPr id="7" name="Rectangle 6"/>
          <p:cNvSpPr/>
          <p:nvPr/>
        </p:nvSpPr>
        <p:spPr>
          <a:xfrm>
            <a:off x="490677" y="1571949"/>
            <a:ext cx="4501875" cy="816506"/>
          </a:xfrm>
          <a:prstGeom prst="rect">
            <a:avLst/>
          </a:prstGeom>
        </p:spPr>
        <p:txBody>
          <a:bodyPr wrap="square">
            <a:spAutoFit/>
          </a:bodyPr>
          <a:lstStyle/>
          <a:p>
            <a:pPr defTabSz="896386">
              <a:defRPr/>
            </a:pPr>
            <a:r>
              <a:rPr lang="en-US" sz="2353" kern="0">
                <a:solidFill>
                  <a:srgbClr val="92D050"/>
                </a:solidFill>
                <a:ea typeface="Times New Roman" panose="02020603050405020304" pitchFamily="18" charset="0"/>
                <a:cs typeface="Times New Roman" panose="02020603050405020304" pitchFamily="18" charset="0"/>
              </a:rPr>
              <a:t>Every 5 seconds give me the count of tweets over the last 10 seconds</a:t>
            </a:r>
            <a:endParaRPr lang="en-US" sz="2353" kern="0">
              <a:solidFill>
                <a:srgbClr val="92D050"/>
              </a:solidFill>
            </a:endParaRPr>
          </a:p>
        </p:txBody>
      </p:sp>
      <p:sp>
        <p:nvSpPr>
          <p:cNvPr id="65" name="Rounded Rectangle 64"/>
          <p:cNvSpPr/>
          <p:nvPr/>
        </p:nvSpPr>
        <p:spPr bwMode="auto">
          <a:xfrm>
            <a:off x="5616761" y="2568359"/>
            <a:ext cx="189598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66" name="Rectangle 65"/>
          <p:cNvSpPr/>
          <p:nvPr/>
        </p:nvSpPr>
        <p:spPr bwMode="auto">
          <a:xfrm>
            <a:off x="5763137"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67" name="Rectangle 66"/>
          <p:cNvSpPr/>
          <p:nvPr/>
        </p:nvSpPr>
        <p:spPr bwMode="auto">
          <a:xfrm>
            <a:off x="60376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68" name="Rectangle 67"/>
          <p:cNvSpPr/>
          <p:nvPr/>
        </p:nvSpPr>
        <p:spPr bwMode="auto">
          <a:xfrm>
            <a:off x="6672056"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69" name="Rectangle 68"/>
          <p:cNvSpPr/>
          <p:nvPr/>
        </p:nvSpPr>
        <p:spPr bwMode="auto">
          <a:xfrm>
            <a:off x="72107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70" name="Rectangle 69"/>
          <p:cNvSpPr/>
          <p:nvPr/>
        </p:nvSpPr>
        <p:spPr bwMode="auto">
          <a:xfrm>
            <a:off x="6935455"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71" name="Rectangle 70"/>
          <p:cNvSpPr/>
          <p:nvPr/>
        </p:nvSpPr>
        <p:spPr bwMode="auto">
          <a:xfrm>
            <a:off x="864658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72" name="Rectangle 71"/>
          <p:cNvSpPr/>
          <p:nvPr/>
        </p:nvSpPr>
        <p:spPr bwMode="auto">
          <a:xfrm>
            <a:off x="8915333"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73" name="Oval 72"/>
          <p:cNvSpPr/>
          <p:nvPr/>
        </p:nvSpPr>
        <p:spPr bwMode="auto">
          <a:xfrm>
            <a:off x="5539364"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4" name="Oval 73"/>
          <p:cNvSpPr/>
          <p:nvPr/>
        </p:nvSpPr>
        <p:spPr bwMode="auto">
          <a:xfrm>
            <a:off x="745095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5" name="Oval 74"/>
          <p:cNvSpPr/>
          <p:nvPr/>
        </p:nvSpPr>
        <p:spPr bwMode="auto">
          <a:xfrm>
            <a:off x="649616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6" name="Oval 75"/>
          <p:cNvSpPr/>
          <p:nvPr/>
        </p:nvSpPr>
        <p:spPr bwMode="auto">
          <a:xfrm>
            <a:off x="1015997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7" name="Oval 76"/>
          <p:cNvSpPr/>
          <p:nvPr/>
        </p:nvSpPr>
        <p:spPr bwMode="auto">
          <a:xfrm>
            <a:off x="933120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8" name="Oval 77"/>
          <p:cNvSpPr/>
          <p:nvPr/>
        </p:nvSpPr>
        <p:spPr bwMode="auto">
          <a:xfrm>
            <a:off x="8374407"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657626" y="2087956"/>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527064"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81" name="TextBox 80"/>
          <p:cNvSpPr txBox="1"/>
          <p:nvPr/>
        </p:nvSpPr>
        <p:spPr>
          <a:xfrm>
            <a:off x="6488471"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82" name="TextBox 81"/>
          <p:cNvSpPr txBox="1"/>
          <p:nvPr/>
        </p:nvSpPr>
        <p:spPr>
          <a:xfrm>
            <a:off x="9331210"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83" name="TextBox 82"/>
          <p:cNvSpPr txBox="1"/>
          <p:nvPr/>
        </p:nvSpPr>
        <p:spPr>
          <a:xfrm>
            <a:off x="744299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84" name="TextBox 83"/>
          <p:cNvSpPr txBox="1"/>
          <p:nvPr/>
        </p:nvSpPr>
        <p:spPr>
          <a:xfrm>
            <a:off x="838710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85" name="TextBox 84"/>
          <p:cNvSpPr txBox="1"/>
          <p:nvPr/>
        </p:nvSpPr>
        <p:spPr>
          <a:xfrm>
            <a:off x="11348418" y="1846574"/>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cxnSp>
        <p:nvCxnSpPr>
          <p:cNvPr id="86" name="Straight Connector 85"/>
          <p:cNvCxnSpPr/>
          <p:nvPr/>
        </p:nvCxnSpPr>
        <p:spPr>
          <a:xfrm>
            <a:off x="9388906" y="2107377"/>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496166" y="2998425"/>
            <a:ext cx="192793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88" name="TextBox 87"/>
          <p:cNvSpPr txBox="1"/>
          <p:nvPr/>
        </p:nvSpPr>
        <p:spPr>
          <a:xfrm>
            <a:off x="1014071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89" name="TextBox 88"/>
          <p:cNvSpPr txBox="1"/>
          <p:nvPr/>
        </p:nvSpPr>
        <p:spPr>
          <a:xfrm>
            <a:off x="5598495" y="612928"/>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568" kern="0" spc="-69">
                <a:solidFill>
                  <a:schemeClr val="bg1"/>
                </a:solidFill>
                <a:latin typeface="Segoe UI Light" panose="020B0502040204020203" pitchFamily="34" charset="0"/>
              </a:rPr>
              <a:t>A 10-second Hopping Window with a 5-second “Hop”</a:t>
            </a:r>
          </a:p>
        </p:txBody>
      </p:sp>
      <p:sp>
        <p:nvSpPr>
          <p:cNvPr id="90" name="Oval 89"/>
          <p:cNvSpPr/>
          <p:nvPr/>
        </p:nvSpPr>
        <p:spPr bwMode="auto">
          <a:xfrm>
            <a:off x="11003562" y="202687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91" name="TextBox 90"/>
          <p:cNvSpPr txBox="1"/>
          <p:nvPr/>
        </p:nvSpPr>
        <p:spPr>
          <a:xfrm>
            <a:off x="1098832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92" name="Straight Connector 91"/>
          <p:cNvCxnSpPr/>
          <p:nvPr/>
        </p:nvCxnSpPr>
        <p:spPr>
          <a:xfrm>
            <a:off x="11051573" y="2041166"/>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512748" y="3447737"/>
            <a:ext cx="1876159"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94" name="Rectangle 93"/>
          <p:cNvSpPr/>
          <p:nvPr/>
        </p:nvSpPr>
        <p:spPr bwMode="auto">
          <a:xfrm>
            <a:off x="705100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95" name="Rectangle 94"/>
          <p:cNvSpPr/>
          <p:nvPr/>
        </p:nvSpPr>
        <p:spPr bwMode="auto">
          <a:xfrm>
            <a:off x="765634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96" name="Rectangle 95"/>
          <p:cNvSpPr/>
          <p:nvPr/>
        </p:nvSpPr>
        <p:spPr bwMode="auto">
          <a:xfrm>
            <a:off x="7362026"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97" name="Rectangle 96"/>
          <p:cNvSpPr/>
          <p:nvPr/>
        </p:nvSpPr>
        <p:spPr bwMode="auto">
          <a:xfrm>
            <a:off x="8190946"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98" name="Rectangle 97"/>
          <p:cNvSpPr/>
          <p:nvPr/>
        </p:nvSpPr>
        <p:spPr bwMode="auto">
          <a:xfrm>
            <a:off x="8497794"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99" name="Rounded Rectangle 98"/>
          <p:cNvSpPr/>
          <p:nvPr/>
        </p:nvSpPr>
        <p:spPr bwMode="auto">
          <a:xfrm>
            <a:off x="8435761" y="3895349"/>
            <a:ext cx="1791226"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0" name="Rounded Rectangle 99"/>
          <p:cNvSpPr/>
          <p:nvPr/>
        </p:nvSpPr>
        <p:spPr bwMode="auto">
          <a:xfrm>
            <a:off x="9400967" y="4333437"/>
            <a:ext cx="1679084"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1" name="Rectangle 100"/>
          <p:cNvSpPr/>
          <p:nvPr/>
        </p:nvSpPr>
        <p:spPr bwMode="auto">
          <a:xfrm>
            <a:off x="9744399"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2" name="Rectangle 101"/>
          <p:cNvSpPr/>
          <p:nvPr/>
        </p:nvSpPr>
        <p:spPr bwMode="auto">
          <a:xfrm>
            <a:off x="10000223"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03" name="Rectangle 102"/>
          <p:cNvSpPr/>
          <p:nvPr/>
        </p:nvSpPr>
        <p:spPr bwMode="auto">
          <a:xfrm>
            <a:off x="10261042"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04" name="Rectangle 103"/>
          <p:cNvSpPr/>
          <p:nvPr/>
        </p:nvSpPr>
        <p:spPr bwMode="auto">
          <a:xfrm>
            <a:off x="10523708"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5" name="Rectangle 104"/>
          <p:cNvSpPr/>
          <p:nvPr/>
        </p:nvSpPr>
        <p:spPr bwMode="auto">
          <a:xfrm>
            <a:off x="5896405"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6" name="Rectangle 105"/>
          <p:cNvSpPr/>
          <p:nvPr/>
        </p:nvSpPr>
        <p:spPr bwMode="auto">
          <a:xfrm>
            <a:off x="6189944"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7" name="Rectangle 106"/>
          <p:cNvSpPr/>
          <p:nvPr/>
        </p:nvSpPr>
        <p:spPr bwMode="auto">
          <a:xfrm>
            <a:off x="6452948"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08" name="Rectangle 107"/>
          <p:cNvSpPr/>
          <p:nvPr/>
        </p:nvSpPr>
        <p:spPr bwMode="auto">
          <a:xfrm>
            <a:off x="7020193"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09" name="Rectangle 108"/>
          <p:cNvSpPr/>
          <p:nvPr/>
        </p:nvSpPr>
        <p:spPr bwMode="auto">
          <a:xfrm>
            <a:off x="6725872"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0" name="Rectangle 109"/>
          <p:cNvSpPr/>
          <p:nvPr/>
        </p:nvSpPr>
        <p:spPr bwMode="auto">
          <a:xfrm>
            <a:off x="8838545"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11" name="Rectangle 110"/>
          <p:cNvSpPr/>
          <p:nvPr/>
        </p:nvSpPr>
        <p:spPr bwMode="auto">
          <a:xfrm>
            <a:off x="9097774"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112" name="Rectangle 111"/>
          <p:cNvSpPr/>
          <p:nvPr/>
        </p:nvSpPr>
        <p:spPr bwMode="auto">
          <a:xfrm>
            <a:off x="9355467"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13" name="Rectangle 112"/>
          <p:cNvSpPr/>
          <p:nvPr/>
        </p:nvSpPr>
        <p:spPr bwMode="auto">
          <a:xfrm>
            <a:off x="9611292"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14" name="Rectangle 113"/>
          <p:cNvSpPr/>
          <p:nvPr/>
        </p:nvSpPr>
        <p:spPr bwMode="auto">
          <a:xfrm>
            <a:off x="10346801"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5" name="Rectangle 114"/>
          <p:cNvSpPr/>
          <p:nvPr/>
        </p:nvSpPr>
        <p:spPr bwMode="auto">
          <a:xfrm>
            <a:off x="1061899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cxnSp>
        <p:nvCxnSpPr>
          <p:cNvPr id="116" name="Straight Connector 115"/>
          <p:cNvCxnSpPr/>
          <p:nvPr/>
        </p:nvCxnSpPr>
        <p:spPr>
          <a:xfrm>
            <a:off x="8417494" y="2088330"/>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26684" y="2097853"/>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502048" y="2036402"/>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0862" y="2112591"/>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555463"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1" name="Rectangle 120"/>
          <p:cNvSpPr/>
          <p:nvPr/>
        </p:nvSpPr>
        <p:spPr bwMode="auto">
          <a:xfrm>
            <a:off x="9811289"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Tree>
    <p:extLst>
      <p:ext uri="{BB962C8B-B14F-4D97-AF65-F5344CB8AC3E}">
        <p14:creationId xmlns:p14="http://schemas.microsoft.com/office/powerpoint/2010/main" val="3016218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Sliding Windows</a:t>
            </a:r>
          </a:p>
        </p:txBody>
      </p:sp>
      <p:sp>
        <p:nvSpPr>
          <p:cNvPr id="6" name="Rectangle 5"/>
          <p:cNvSpPr/>
          <p:nvPr/>
        </p:nvSpPr>
        <p:spPr>
          <a:xfrm>
            <a:off x="424132" y="4468440"/>
            <a:ext cx="9487163" cy="1538804"/>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a:t>
            </a:r>
            <a:r>
              <a:rPr lang="en-US" sz="2353" kern="0">
                <a:solidFill>
                  <a:sysClr val="windowText" lastClr="000000"/>
                </a:solidFill>
                <a:latin typeface="Consolas"/>
              </a:rPr>
              <a:t>(*) </a:t>
            </a: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p>
          <a:p>
            <a:pPr defTabSz="896386">
              <a:defRPr/>
            </a:pP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SlidingWindow</a:t>
            </a:r>
            <a:r>
              <a:rPr lang="en-US" sz="2353" kern="0">
                <a:solidFill>
                  <a:sysClr val="windowText" lastClr="000000"/>
                </a:solidFill>
                <a:latin typeface="Consolas"/>
              </a:rPr>
              <a:t>(second, 10)</a:t>
            </a:r>
          </a:p>
          <a:p>
            <a:pPr defTabSz="896386">
              <a:defRPr/>
            </a:pPr>
            <a:r>
              <a:rPr lang="en-US" sz="2353" kern="0">
                <a:solidFill>
                  <a:schemeClr val="tx2">
                    <a:lumMod val="60000"/>
                    <a:lumOff val="40000"/>
                  </a:schemeClr>
                </a:solidFill>
                <a:latin typeface="Consolas"/>
              </a:rPr>
              <a:t>HAVING</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gt; 10</a:t>
            </a:r>
          </a:p>
        </p:txBody>
      </p:sp>
      <p:sp>
        <p:nvSpPr>
          <p:cNvPr id="7" name="Rectangle 6"/>
          <p:cNvSpPr/>
          <p:nvPr/>
        </p:nvSpPr>
        <p:spPr>
          <a:xfrm>
            <a:off x="563506" y="1794420"/>
            <a:ext cx="4835889" cy="1178592"/>
          </a:xfrm>
          <a:prstGeom prst="rect">
            <a:avLst/>
          </a:prstGeom>
        </p:spPr>
        <p:txBody>
          <a:bodyPr wrap="squar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p:nvPr/>
        </p:nvCxnSpPr>
        <p:spPr>
          <a:xfrm>
            <a:off x="8374496" y="1664540"/>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0842995" y="1678559"/>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8955839" y="391338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483292" y="2877927"/>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32901"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3" name="Rectangle 12"/>
          <p:cNvSpPr/>
          <p:nvPr/>
        </p:nvSpPr>
        <p:spPr bwMode="auto">
          <a:xfrm>
            <a:off x="8161625"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4" name="Oval 13"/>
          <p:cNvSpPr/>
          <p:nvPr/>
        </p:nvSpPr>
        <p:spPr bwMode="auto">
          <a:xfrm>
            <a:off x="5865435"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5" name="Oval 14"/>
          <p:cNvSpPr/>
          <p:nvPr/>
        </p:nvSpPr>
        <p:spPr bwMode="auto">
          <a:xfrm>
            <a:off x="777703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6" name="Oval 15"/>
          <p:cNvSpPr/>
          <p:nvPr/>
        </p:nvSpPr>
        <p:spPr bwMode="auto">
          <a:xfrm>
            <a:off x="682223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7" name="Oval 16"/>
          <p:cNvSpPr/>
          <p:nvPr/>
        </p:nvSpPr>
        <p:spPr bwMode="auto">
          <a:xfrm>
            <a:off x="1048604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8" name="Oval 17"/>
          <p:cNvSpPr/>
          <p:nvPr/>
        </p:nvSpPr>
        <p:spPr bwMode="auto">
          <a:xfrm>
            <a:off x="965728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9" name="Oval 18"/>
          <p:cNvSpPr/>
          <p:nvPr/>
        </p:nvSpPr>
        <p:spPr bwMode="auto">
          <a:xfrm>
            <a:off x="8700479"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5983698" y="2072556"/>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853136"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2" name="TextBox 21"/>
          <p:cNvSpPr txBox="1"/>
          <p:nvPr/>
        </p:nvSpPr>
        <p:spPr>
          <a:xfrm>
            <a:off x="6814542"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3" name="TextBox 22"/>
          <p:cNvSpPr txBox="1"/>
          <p:nvPr/>
        </p:nvSpPr>
        <p:spPr>
          <a:xfrm>
            <a:off x="9628710"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4" name="TextBox 23"/>
          <p:cNvSpPr txBox="1"/>
          <p:nvPr/>
        </p:nvSpPr>
        <p:spPr>
          <a:xfrm>
            <a:off x="776907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5" name="TextBox 24"/>
          <p:cNvSpPr txBox="1"/>
          <p:nvPr/>
        </p:nvSpPr>
        <p:spPr>
          <a:xfrm>
            <a:off x="8684604"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6" name="TextBox 25"/>
          <p:cNvSpPr txBox="1"/>
          <p:nvPr/>
        </p:nvSpPr>
        <p:spPr>
          <a:xfrm>
            <a:off x="11064615" y="1803490"/>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sp>
        <p:nvSpPr>
          <p:cNvPr id="27" name="TextBox 26"/>
          <p:cNvSpPr txBox="1"/>
          <p:nvPr/>
        </p:nvSpPr>
        <p:spPr>
          <a:xfrm>
            <a:off x="1046679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28" name="TextBox 27"/>
          <p:cNvSpPr txBox="1"/>
          <p:nvPr/>
        </p:nvSpPr>
        <p:spPr>
          <a:xfrm>
            <a:off x="5924567" y="854292"/>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solidFill>
                <a:latin typeface="Segoe UI Light" panose="020B0502040204020203" pitchFamily="34" charset="0"/>
              </a:rPr>
              <a:t>A 10-second Sliding Window</a:t>
            </a:r>
          </a:p>
        </p:txBody>
      </p:sp>
      <p:sp>
        <p:nvSpPr>
          <p:cNvPr id="30" name="Rectangle 29"/>
          <p:cNvSpPr/>
          <p:nvPr/>
        </p:nvSpPr>
        <p:spPr bwMode="auto">
          <a:xfrm>
            <a:off x="5939847" y="229735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653839"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33" name="Rectangle 32"/>
          <p:cNvSpPr/>
          <p:nvPr/>
        </p:nvSpPr>
        <p:spPr bwMode="auto">
          <a:xfrm>
            <a:off x="9840221" y="403598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cxnSp>
        <p:nvCxnSpPr>
          <p:cNvPr id="34" name="Straight Connector 33"/>
          <p:cNvCxnSpPr>
            <a:endCxn id="30" idx="3"/>
          </p:cNvCxnSpPr>
          <p:nvPr/>
        </p:nvCxnSpPr>
        <p:spPr>
          <a:xfrm>
            <a:off x="7833062" y="1691268"/>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58869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36" name="Rectangle 35"/>
          <p:cNvSpPr/>
          <p:nvPr/>
        </p:nvSpPr>
        <p:spPr bwMode="auto">
          <a:xfrm>
            <a:off x="725124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37" name="Rectangle 36"/>
          <p:cNvSpPr/>
          <p:nvPr/>
        </p:nvSpPr>
        <p:spPr bwMode="auto">
          <a:xfrm>
            <a:off x="8487176"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cxnSp>
        <p:nvCxnSpPr>
          <p:cNvPr id="38" name="Straight Connector 37"/>
          <p:cNvCxnSpPr>
            <a:endCxn id="39" idx="3"/>
          </p:cNvCxnSpPr>
          <p:nvPr/>
        </p:nvCxnSpPr>
        <p:spPr>
          <a:xfrm>
            <a:off x="8699986" y="1747405"/>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809198" y="3475450"/>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251247" y="3598713"/>
            <a:ext cx="893095" cy="176828"/>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grpSp>
      <p:sp>
        <p:nvSpPr>
          <p:cNvPr id="116" name="Rectangle 115"/>
          <p:cNvSpPr/>
          <p:nvPr/>
        </p:nvSpPr>
        <p:spPr bwMode="auto">
          <a:xfrm>
            <a:off x="6918926" y="2433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Tree>
    <p:extLst>
      <p:ext uri="{BB962C8B-B14F-4D97-AF65-F5344CB8AC3E}">
        <p14:creationId xmlns:p14="http://schemas.microsoft.com/office/powerpoint/2010/main" val="409371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37162640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1873" y="1367246"/>
            <a:ext cx="8276904" cy="5200608"/>
          </a:xfrm>
        </p:spPr>
        <p:txBody>
          <a:bodyPr>
            <a:noAutofit/>
          </a:bodyPr>
          <a:lstStyle/>
          <a:p>
            <a:r>
              <a:rPr lang="en-US" sz="2000"/>
              <a:t>Fast, distributed, scalable and fault tolerant cluster compute system</a:t>
            </a:r>
          </a:p>
          <a:p>
            <a:r>
              <a:rPr lang="en-US" sz="2000"/>
              <a:t>Enables Low-latency with complex analytics</a:t>
            </a:r>
          </a:p>
          <a:p>
            <a:r>
              <a:rPr lang="en-US" sz="2000"/>
              <a:t>10x faster on disk,100x faster in memory than Hadoop MR</a:t>
            </a:r>
          </a:p>
          <a:p>
            <a:r>
              <a:rPr lang="en-US" sz="2000"/>
              <a:t>Hadoop, </a:t>
            </a:r>
            <a:r>
              <a:rPr lang="en-US" sz="2000" err="1"/>
              <a:t>Mesos</a:t>
            </a:r>
            <a:r>
              <a:rPr lang="en-US" sz="2000"/>
              <a:t>, standalone</a:t>
            </a:r>
          </a:p>
          <a:p>
            <a:r>
              <a:rPr lang="en-US" sz="2000"/>
              <a:t>Fault Tolerant Distributed Datasets</a:t>
            </a:r>
          </a:p>
          <a:p>
            <a:r>
              <a:rPr lang="en-US" sz="2000"/>
              <a:t>Batch, iterative and streaming analysis</a:t>
            </a:r>
          </a:p>
          <a:p>
            <a:r>
              <a:rPr lang="en-US" sz="2000"/>
              <a:t>In Memory Storage and Disk</a:t>
            </a:r>
          </a:p>
          <a:p>
            <a:r>
              <a:rPr lang="en-US" sz="2000"/>
              <a:t>Integrates with Most File and Storage Options</a:t>
            </a:r>
          </a:p>
          <a:p>
            <a:r>
              <a:rPr lang="en-US" sz="2000"/>
              <a:t>Java, Scala, Python, R. Functional Programming model. Use from REPL.</a:t>
            </a:r>
          </a:p>
          <a:p>
            <a:r>
              <a:rPr lang="en-US" sz="2000"/>
              <a:t>Write, test and maintain 2 - 5x less code</a:t>
            </a:r>
          </a:p>
          <a:p>
            <a:r>
              <a:rPr lang="en-US" sz="2000"/>
              <a:t>Libraries for SQL, Machine Learning, Graph and streaming</a:t>
            </a:r>
          </a:p>
        </p:txBody>
      </p:sp>
      <p:sp>
        <p:nvSpPr>
          <p:cNvPr id="17" name="Title 16"/>
          <p:cNvSpPr>
            <a:spLocks noGrp="1"/>
          </p:cNvSpPr>
          <p:nvPr>
            <p:ph type="title"/>
          </p:nvPr>
        </p:nvSpPr>
        <p:spPr/>
        <p:txBody>
          <a:bodyPr/>
          <a:lstStyle/>
          <a:p>
            <a:r>
              <a:rPr lang="en-US"/>
              <a:t>Apache Spark</a:t>
            </a:r>
          </a:p>
        </p:txBody>
      </p:sp>
      <p:pic>
        <p:nvPicPr>
          <p:cNvPr id="2" name="Picture 1"/>
          <p:cNvPicPr>
            <a:picLocks noChangeAspect="1"/>
          </p:cNvPicPr>
          <p:nvPr/>
        </p:nvPicPr>
        <p:blipFill>
          <a:blip r:embed="rId3"/>
          <a:stretch>
            <a:fillRect/>
          </a:stretch>
        </p:blipFill>
        <p:spPr>
          <a:xfrm>
            <a:off x="6508402" y="3215807"/>
            <a:ext cx="5395544" cy="1503485"/>
          </a:xfrm>
          <a:prstGeom prst="rect">
            <a:avLst/>
          </a:prstGeom>
        </p:spPr>
      </p:pic>
    </p:spTree>
    <p:extLst>
      <p:ext uri="{BB962C8B-B14F-4D97-AF65-F5344CB8AC3E}">
        <p14:creationId xmlns:p14="http://schemas.microsoft.com/office/powerpoint/2010/main" val="312354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ilient Distributed Dataset (RDD)</a:t>
            </a:r>
          </a:p>
        </p:txBody>
      </p:sp>
      <p:sp>
        <p:nvSpPr>
          <p:cNvPr id="4" name="Text Placeholder 5"/>
          <p:cNvSpPr txBox="1">
            <a:spLocks/>
          </p:cNvSpPr>
          <p:nvPr/>
        </p:nvSpPr>
        <p:spPr>
          <a:xfrm>
            <a:off x="271873" y="1367246"/>
            <a:ext cx="6463035" cy="5200608"/>
          </a:xfrm>
          <a:prstGeom prst="rect">
            <a:avLst/>
          </a:prstGeom>
        </p:spPr>
        <p:txBody>
          <a:bodyPr>
            <a:normAutofit/>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Fault Tolerant: can recalculate from any point of failure</a:t>
            </a:r>
          </a:p>
          <a:p>
            <a:r>
              <a:rPr lang="en-US" sz="2400"/>
              <a:t>Created through transformations on data ( map, filter..) or other RDDs</a:t>
            </a:r>
          </a:p>
          <a:p>
            <a:r>
              <a:rPr lang="en-US" sz="2400"/>
              <a:t>Immutable</a:t>
            </a:r>
          </a:p>
          <a:p>
            <a:r>
              <a:rPr lang="en-US" sz="2400"/>
              <a:t>Partitioned - Indicate which RDD elements to partition across machines based on a key in each record</a:t>
            </a:r>
          </a:p>
          <a:p>
            <a:r>
              <a:rPr lang="en-US" sz="2400"/>
              <a:t>Can be reused</a:t>
            </a:r>
          </a:p>
        </p:txBody>
      </p:sp>
      <p:pic>
        <p:nvPicPr>
          <p:cNvPr id="6" name="Picture 5"/>
          <p:cNvPicPr/>
          <p:nvPr/>
        </p:nvPicPr>
        <p:blipFill rotWithShape="1">
          <a:blip r:embed="rId3"/>
          <a:srcRect l="50708" t="37798" r="11686" b="20801"/>
          <a:stretch/>
        </p:blipFill>
        <p:spPr bwMode="auto">
          <a:xfrm>
            <a:off x="8100888" y="1245702"/>
            <a:ext cx="3101096" cy="3105127"/>
          </a:xfrm>
          <a:prstGeom prst="rect">
            <a:avLst/>
          </a:prstGeom>
          <a:ln>
            <a:noFill/>
          </a:ln>
          <a:extLst>
            <a:ext uri="{53640926-AAD7-44D8-BBD7-CCE9431645EC}">
              <a14:shadowObscured xmlns:a14="http://schemas.microsoft.com/office/drawing/2010/main"/>
            </a:ext>
          </a:extLst>
        </p:spPr>
      </p:pic>
      <p:pic>
        <p:nvPicPr>
          <p:cNvPr id="7" name="Picture 6"/>
          <p:cNvPicPr>
            <a:picLocks noChangeAspect="1"/>
          </p:cNvPicPr>
          <p:nvPr/>
        </p:nvPicPr>
        <p:blipFill>
          <a:blip r:embed="rId4"/>
          <a:stretch>
            <a:fillRect/>
          </a:stretch>
        </p:blipFill>
        <p:spPr>
          <a:xfrm>
            <a:off x="7271238" y="4657644"/>
            <a:ext cx="4760396" cy="1546992"/>
          </a:xfrm>
          <a:prstGeom prst="rect">
            <a:avLst/>
          </a:prstGeom>
        </p:spPr>
      </p:pic>
      <p:sp>
        <p:nvSpPr>
          <p:cNvPr id="9" name="Rectangle 8"/>
          <p:cNvSpPr/>
          <p:nvPr/>
        </p:nvSpPr>
        <p:spPr>
          <a:xfrm>
            <a:off x="10338093" y="5229650"/>
            <a:ext cx="1727781" cy="369332"/>
          </a:xfrm>
          <a:prstGeom prst="rect">
            <a:avLst/>
          </a:prstGeom>
        </p:spPr>
        <p:txBody>
          <a:bodyPr wrap="none">
            <a:spAutoFit/>
          </a:bodyPr>
          <a:lstStyle/>
          <a:p>
            <a:r>
              <a:rPr lang="en-US">
                <a:latin typeface="Helvetica" panose="020B0604020202020204" pitchFamily="34" charset="0"/>
              </a:rPr>
              <a:t>Transformation</a:t>
            </a:r>
            <a:endParaRPr lang="en-US"/>
          </a:p>
        </p:txBody>
      </p:sp>
      <p:sp>
        <p:nvSpPr>
          <p:cNvPr id="10" name="Rectangle 9"/>
          <p:cNvSpPr/>
          <p:nvPr/>
        </p:nvSpPr>
        <p:spPr>
          <a:xfrm>
            <a:off x="10376116" y="5717143"/>
            <a:ext cx="825867" cy="369332"/>
          </a:xfrm>
          <a:prstGeom prst="rect">
            <a:avLst/>
          </a:prstGeom>
        </p:spPr>
        <p:txBody>
          <a:bodyPr wrap="none">
            <a:spAutoFit/>
          </a:bodyPr>
          <a:lstStyle/>
          <a:p>
            <a:r>
              <a:rPr lang="en-US">
                <a:latin typeface="Helvetica" panose="020B0604020202020204" pitchFamily="34" charset="0"/>
              </a:rPr>
              <a:t>Action</a:t>
            </a:r>
            <a:endParaRPr lang="en-US"/>
          </a:p>
        </p:txBody>
      </p:sp>
    </p:spTree>
    <p:extLst>
      <p:ext uri="{BB962C8B-B14F-4D97-AF65-F5344CB8AC3E}">
        <p14:creationId xmlns:p14="http://schemas.microsoft.com/office/powerpoint/2010/main" val="20945982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ark Examples</a:t>
            </a:r>
          </a:p>
        </p:txBody>
      </p:sp>
      <p:sp>
        <p:nvSpPr>
          <p:cNvPr id="4" name="Rectangle 3"/>
          <p:cNvSpPr/>
          <p:nvPr/>
        </p:nvSpPr>
        <p:spPr>
          <a:xfrm>
            <a:off x="3250223" y="1245702"/>
            <a:ext cx="3396762" cy="1169551"/>
          </a:xfrm>
          <a:prstGeom prst="rect">
            <a:avLst/>
          </a:prstGeom>
        </p:spPr>
        <p:txBody>
          <a:bodyPr wrap="square">
            <a:spAutoFit/>
          </a:bodyPr>
          <a:lstStyle/>
          <a:p>
            <a:r>
              <a:rPr lang="it-IT" sz="1400">
                <a:solidFill>
                  <a:srgbClr val="333333"/>
                </a:solidFill>
                <a:latin typeface="Menlo-Regular"/>
              </a:rPr>
              <a:t>scala</a:t>
            </a:r>
            <a:r>
              <a:rPr lang="it-IT" sz="1400">
                <a:solidFill>
                  <a:srgbClr val="666666"/>
                </a:solidFill>
                <a:latin typeface="Menlo-Regular"/>
              </a:rPr>
              <a:t>&gt; </a:t>
            </a:r>
            <a:r>
              <a:rPr lang="it-IT" sz="1400" b="1">
                <a:solidFill>
                  <a:srgbClr val="017020"/>
                </a:solidFill>
                <a:latin typeface="Menlo-Bold"/>
              </a:rPr>
              <a:t>val </a:t>
            </a:r>
            <a:r>
              <a:rPr lang="it-IT" sz="1400">
                <a:solidFill>
                  <a:srgbClr val="333333"/>
                </a:solidFill>
                <a:latin typeface="Menlo-Regular"/>
              </a:rPr>
              <a:t>data </a:t>
            </a:r>
            <a:r>
              <a:rPr lang="it-IT" sz="1400" b="1">
                <a:solidFill>
                  <a:srgbClr val="017020"/>
                </a:solidFill>
                <a:latin typeface="Menlo-Bold"/>
              </a:rPr>
              <a:t>= </a:t>
            </a:r>
            <a:r>
              <a:rPr lang="it-IT" sz="1400" b="1">
                <a:solidFill>
                  <a:srgbClr val="0D85B6"/>
                </a:solidFill>
                <a:latin typeface="Menlo-Bold"/>
              </a:rPr>
              <a:t>Array</a:t>
            </a:r>
            <a:r>
              <a:rPr lang="it-IT" sz="1400">
                <a:solidFill>
                  <a:srgbClr val="666666"/>
                </a:solidFill>
                <a:latin typeface="Menlo-Regular"/>
              </a:rPr>
              <a:t>(</a:t>
            </a:r>
            <a:r>
              <a:rPr lang="it-IT" sz="1400">
                <a:solidFill>
                  <a:srgbClr val="40A071"/>
                </a:solidFill>
                <a:latin typeface="Menlo-Regular"/>
              </a:rPr>
              <a:t>1</a:t>
            </a:r>
            <a:r>
              <a:rPr lang="it-IT" sz="1400">
                <a:solidFill>
                  <a:srgbClr val="666666"/>
                </a:solidFill>
                <a:latin typeface="Menlo-Regular"/>
              </a:rPr>
              <a:t>, </a:t>
            </a:r>
            <a:r>
              <a:rPr lang="it-IT" sz="1400">
                <a:solidFill>
                  <a:srgbClr val="40A071"/>
                </a:solidFill>
                <a:latin typeface="Menlo-Regular"/>
              </a:rPr>
              <a:t>2</a:t>
            </a:r>
            <a:r>
              <a:rPr lang="it-IT" sz="1400">
                <a:solidFill>
                  <a:srgbClr val="666666"/>
                </a:solidFill>
                <a:latin typeface="Menlo-Regular"/>
              </a:rPr>
              <a:t>, </a:t>
            </a:r>
            <a:r>
              <a:rPr lang="it-IT" sz="1400">
                <a:solidFill>
                  <a:srgbClr val="40A071"/>
                </a:solidFill>
                <a:latin typeface="Menlo-Regular"/>
              </a:rPr>
              <a:t>3</a:t>
            </a:r>
            <a:r>
              <a:rPr lang="it-IT" sz="1400">
                <a:solidFill>
                  <a:srgbClr val="666666"/>
                </a:solidFill>
                <a:latin typeface="Menlo-Regular"/>
              </a:rPr>
              <a:t>, </a:t>
            </a:r>
            <a:r>
              <a:rPr lang="it-IT" sz="1400">
                <a:solidFill>
                  <a:srgbClr val="40A071"/>
                </a:solidFill>
                <a:latin typeface="Menlo-Regular"/>
              </a:rPr>
              <a:t>4</a:t>
            </a:r>
            <a:r>
              <a:rPr lang="it-IT" sz="1400">
                <a:solidFill>
                  <a:srgbClr val="666666"/>
                </a:solidFill>
                <a:latin typeface="Menlo-Regular"/>
              </a:rPr>
              <a:t>, </a:t>
            </a:r>
            <a:r>
              <a:rPr lang="it-IT" sz="1400">
                <a:solidFill>
                  <a:srgbClr val="40A071"/>
                </a:solidFill>
                <a:latin typeface="Menlo-Regular"/>
              </a:rPr>
              <a:t>5</a:t>
            </a:r>
            <a:r>
              <a:rPr lang="it-IT" sz="1400">
                <a:solidFill>
                  <a:srgbClr val="666666"/>
                </a:solidFill>
                <a:latin typeface="Menlo-Regular"/>
              </a:rPr>
              <a:t>)</a:t>
            </a:r>
          </a:p>
          <a:p>
            <a:r>
              <a:rPr lang="en-US" sz="1400">
                <a:solidFill>
                  <a:srgbClr val="333333"/>
                </a:solidFill>
                <a:latin typeface="Menlo-Regular"/>
              </a:rPr>
              <a:t>data</a:t>
            </a:r>
            <a:r>
              <a:rPr lang="en-US" sz="1400" b="1">
                <a:solidFill>
                  <a:srgbClr val="017020"/>
                </a:solidFill>
                <a:latin typeface="Menlo-Bold"/>
              </a:rPr>
              <a:t>: </a:t>
            </a:r>
            <a:r>
              <a:rPr lang="en-US" sz="1400">
                <a:solidFill>
                  <a:srgbClr val="911F00"/>
                </a:solidFill>
                <a:latin typeface="Menlo-Regular"/>
              </a:rPr>
              <a:t>Array</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 </a:t>
            </a:r>
            <a:r>
              <a:rPr lang="en-US" sz="1400" b="1">
                <a:solidFill>
                  <a:srgbClr val="0D85B6"/>
                </a:solidFill>
                <a:latin typeface="Menlo-Bold"/>
              </a:rPr>
              <a:t>Array</a:t>
            </a:r>
            <a:r>
              <a:rPr lang="en-US" sz="1400">
                <a:solidFill>
                  <a:srgbClr val="666666"/>
                </a:solidFill>
                <a:latin typeface="Menlo-Regular"/>
              </a:rPr>
              <a:t>(</a:t>
            </a:r>
            <a:r>
              <a:rPr lang="en-US" sz="1400">
                <a:solidFill>
                  <a:srgbClr val="40A071"/>
                </a:solidFill>
                <a:latin typeface="Menlo-Regular"/>
              </a:rPr>
              <a:t>1</a:t>
            </a:r>
            <a:r>
              <a:rPr lang="en-US" sz="1400">
                <a:solidFill>
                  <a:srgbClr val="666666"/>
                </a:solidFill>
                <a:latin typeface="Menlo-Regular"/>
              </a:rPr>
              <a:t>, </a:t>
            </a:r>
            <a:r>
              <a:rPr lang="en-US" sz="1400">
                <a:solidFill>
                  <a:srgbClr val="40A071"/>
                </a:solidFill>
                <a:latin typeface="Menlo-Regular"/>
              </a:rPr>
              <a:t>2</a:t>
            </a:r>
            <a:r>
              <a:rPr lang="en-US" sz="1400">
                <a:solidFill>
                  <a:srgbClr val="666666"/>
                </a:solidFill>
                <a:latin typeface="Menlo-Regular"/>
              </a:rPr>
              <a:t>, </a:t>
            </a:r>
            <a:r>
              <a:rPr lang="en-US" sz="1400">
                <a:solidFill>
                  <a:srgbClr val="40A071"/>
                </a:solidFill>
                <a:latin typeface="Menlo-Regular"/>
              </a:rPr>
              <a:t>3</a:t>
            </a:r>
            <a:r>
              <a:rPr lang="en-US" sz="1400">
                <a:solidFill>
                  <a:srgbClr val="666666"/>
                </a:solidFill>
                <a:latin typeface="Menlo-Regular"/>
              </a:rPr>
              <a:t>, </a:t>
            </a:r>
            <a:r>
              <a:rPr lang="en-US" sz="1400">
                <a:solidFill>
                  <a:srgbClr val="40A071"/>
                </a:solidFill>
                <a:latin typeface="Menlo-Regular"/>
              </a:rPr>
              <a:t>4</a:t>
            </a:r>
            <a:r>
              <a:rPr lang="en-US" sz="1400">
                <a:solidFill>
                  <a:srgbClr val="666666"/>
                </a:solidFill>
                <a:latin typeface="Menlo-Regular"/>
              </a:rPr>
              <a:t>, </a:t>
            </a:r>
            <a:r>
              <a:rPr lang="en-US" sz="1400">
                <a:solidFill>
                  <a:srgbClr val="40A071"/>
                </a:solidFill>
                <a:latin typeface="Menlo-Regular"/>
              </a:rPr>
              <a:t>5</a:t>
            </a:r>
            <a:r>
              <a:rPr lang="en-US" sz="1400">
                <a:solidFill>
                  <a:srgbClr val="666666"/>
                </a:solidFill>
                <a:latin typeface="Menlo-Regular"/>
              </a:rPr>
              <a:t>)</a:t>
            </a:r>
          </a:p>
          <a:p>
            <a:r>
              <a:rPr lang="en-US" sz="1400" err="1">
                <a:solidFill>
                  <a:srgbClr val="333333"/>
                </a:solidFill>
                <a:latin typeface="Menlo-Regular"/>
              </a:rPr>
              <a:t>scala</a:t>
            </a:r>
            <a:r>
              <a:rPr lang="en-US" sz="1400">
                <a:solidFill>
                  <a:srgbClr val="666666"/>
                </a:solidFill>
                <a:latin typeface="Menlo-Regular"/>
              </a:rPr>
              <a:t>&gt; </a:t>
            </a:r>
            <a:r>
              <a:rPr lang="en-US" sz="1400" b="1" err="1">
                <a:solidFill>
                  <a:srgbClr val="017020"/>
                </a:solidFill>
                <a:latin typeface="Menlo-Bold"/>
              </a:rPr>
              <a:t>val</a:t>
            </a:r>
            <a:r>
              <a:rPr lang="en-US" sz="1400" b="1">
                <a:solidFill>
                  <a:srgbClr val="017020"/>
                </a:solidFill>
                <a:latin typeface="Menlo-Bold"/>
              </a:rPr>
              <a:t> </a:t>
            </a:r>
            <a:r>
              <a:rPr lang="en-US" sz="1400" err="1">
                <a:solidFill>
                  <a:srgbClr val="333333"/>
                </a:solidFill>
                <a:latin typeface="Menlo-Regular"/>
              </a:rPr>
              <a:t>distData</a:t>
            </a:r>
            <a:r>
              <a:rPr lang="en-US" sz="1400">
                <a:solidFill>
                  <a:srgbClr val="333333"/>
                </a:solidFill>
                <a:latin typeface="Menlo-Regular"/>
              </a:rPr>
              <a:t> </a:t>
            </a:r>
            <a:r>
              <a:rPr lang="en-US" sz="1400" b="1">
                <a:solidFill>
                  <a:srgbClr val="017020"/>
                </a:solidFill>
                <a:latin typeface="Menlo-Bold"/>
              </a:rPr>
              <a:t>= </a:t>
            </a:r>
            <a:r>
              <a:rPr lang="en-US" sz="1400" err="1">
                <a:solidFill>
                  <a:srgbClr val="333333"/>
                </a:solidFill>
                <a:latin typeface="Menlo-Regular"/>
              </a:rPr>
              <a:t>sc</a:t>
            </a:r>
            <a:r>
              <a:rPr lang="en-US" sz="1400" err="1">
                <a:solidFill>
                  <a:srgbClr val="666666"/>
                </a:solidFill>
                <a:latin typeface="Menlo-Regular"/>
              </a:rPr>
              <a:t>.</a:t>
            </a:r>
            <a:r>
              <a:rPr lang="en-US" sz="1400" err="1">
                <a:solidFill>
                  <a:srgbClr val="333333"/>
                </a:solidFill>
                <a:latin typeface="Menlo-Regular"/>
              </a:rPr>
              <a:t>parallelize</a:t>
            </a:r>
            <a:r>
              <a:rPr lang="en-US" sz="1400">
                <a:solidFill>
                  <a:srgbClr val="666666"/>
                </a:solidFill>
                <a:latin typeface="Menlo-Regular"/>
              </a:rPr>
              <a:t>(</a:t>
            </a:r>
            <a:r>
              <a:rPr lang="en-US" sz="1400">
                <a:solidFill>
                  <a:srgbClr val="333333"/>
                </a:solidFill>
                <a:latin typeface="Menlo-Regular"/>
              </a:rPr>
              <a:t>data</a:t>
            </a:r>
            <a:r>
              <a:rPr lang="en-US" sz="1400">
                <a:solidFill>
                  <a:srgbClr val="666666"/>
                </a:solidFill>
                <a:latin typeface="Menlo-Regular"/>
              </a:rPr>
              <a:t>)</a:t>
            </a:r>
          </a:p>
          <a:p>
            <a:r>
              <a:rPr lang="en-US" sz="1400" err="1">
                <a:solidFill>
                  <a:srgbClr val="333333"/>
                </a:solidFill>
                <a:latin typeface="Menlo-Regular"/>
              </a:rPr>
              <a:t>distData</a:t>
            </a:r>
            <a:r>
              <a:rPr lang="en-US" sz="1400" b="1">
                <a:solidFill>
                  <a:srgbClr val="017020"/>
                </a:solidFill>
                <a:latin typeface="Menlo-Bold"/>
              </a:rPr>
              <a:t>: </a:t>
            </a:r>
            <a:r>
              <a:rPr lang="en-US" sz="1400" err="1">
                <a:solidFill>
                  <a:srgbClr val="911F00"/>
                </a:solidFill>
                <a:latin typeface="Menlo-Regular"/>
              </a:rPr>
              <a:t>spark.RDD</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a:t>
            </a:r>
          </a:p>
          <a:p>
            <a:r>
              <a:rPr lang="en-US" sz="1400">
                <a:solidFill>
                  <a:srgbClr val="333333"/>
                </a:solidFill>
                <a:latin typeface="Menlo-Regular"/>
              </a:rPr>
              <a:t>spark</a:t>
            </a:r>
            <a:r>
              <a:rPr lang="en-US" sz="1400">
                <a:solidFill>
                  <a:srgbClr val="666666"/>
                </a:solidFill>
                <a:latin typeface="Menlo-Regular"/>
              </a:rPr>
              <a:t>.</a:t>
            </a:r>
            <a:r>
              <a:rPr lang="en-US" sz="1400" b="1">
                <a:solidFill>
                  <a:srgbClr val="0D85B6"/>
                </a:solidFill>
                <a:latin typeface="Menlo-Bold"/>
              </a:rPr>
              <a:t>ParallelCollection</a:t>
            </a:r>
            <a:r>
              <a:rPr lang="en-US" sz="1400" b="1">
                <a:solidFill>
                  <a:srgbClr val="017020"/>
                </a:solidFill>
                <a:latin typeface="Menlo-Bold"/>
              </a:rPr>
              <a:t>@</a:t>
            </a:r>
            <a:r>
              <a:rPr lang="en-US" sz="1400">
                <a:solidFill>
                  <a:srgbClr val="40A071"/>
                </a:solidFill>
                <a:latin typeface="Menlo-Regular"/>
              </a:rPr>
              <a:t>10</a:t>
            </a:r>
            <a:r>
              <a:rPr lang="en-US" sz="1400">
                <a:solidFill>
                  <a:srgbClr val="333333"/>
                </a:solidFill>
                <a:latin typeface="Menlo-Regular"/>
              </a:rPr>
              <a:t>d13e3e</a:t>
            </a:r>
            <a:endParaRPr lang="en-US" sz="1400"/>
          </a:p>
        </p:txBody>
      </p:sp>
      <p:sp>
        <p:nvSpPr>
          <p:cNvPr id="5" name="Rectangle 4"/>
          <p:cNvSpPr/>
          <p:nvPr/>
        </p:nvSpPr>
        <p:spPr>
          <a:xfrm>
            <a:off x="623037" y="1245702"/>
            <a:ext cx="2065694" cy="369332"/>
          </a:xfrm>
          <a:prstGeom prst="rect">
            <a:avLst/>
          </a:prstGeom>
        </p:spPr>
        <p:txBody>
          <a:bodyPr wrap="none">
            <a:spAutoFit/>
          </a:bodyPr>
          <a:lstStyle/>
          <a:p>
            <a:r>
              <a:rPr lang="en-US">
                <a:latin typeface="Helvetica" panose="020B0604020202020204" pitchFamily="34" charset="0"/>
              </a:rPr>
              <a:t>Collection To RDD</a:t>
            </a:r>
            <a:endParaRPr lang="en-US"/>
          </a:p>
        </p:txBody>
      </p:sp>
      <p:sp>
        <p:nvSpPr>
          <p:cNvPr id="6" name="Rectangle 5"/>
          <p:cNvSpPr/>
          <p:nvPr/>
        </p:nvSpPr>
        <p:spPr>
          <a:xfrm>
            <a:off x="6802049" y="4424454"/>
            <a:ext cx="3300047" cy="2462213"/>
          </a:xfrm>
          <a:prstGeom prst="rect">
            <a:avLst/>
          </a:prstGeom>
        </p:spPr>
        <p:txBody>
          <a:bodyPr wrap="square">
            <a:spAutoFit/>
          </a:bodyPr>
          <a:lstStyle/>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conf</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f</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Master</a:t>
            </a:r>
            <a:r>
              <a:rPr lang="en-US" sz="1400">
                <a:solidFill>
                  <a:srgbClr val="000000"/>
                </a:solidFill>
                <a:latin typeface="Menlo-Regular"/>
              </a:rPr>
              <a:t>(</a:t>
            </a:r>
            <a:r>
              <a:rPr lang="en-US" sz="1400">
                <a:solidFill>
                  <a:srgbClr val="008F00"/>
                </a:solidFill>
                <a:latin typeface="Menlo-Regular"/>
              </a:rPr>
              <a:t>"local[*]"</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AppName</a:t>
            </a:r>
            <a:r>
              <a:rPr lang="en-US" sz="1400">
                <a:solidFill>
                  <a:srgbClr val="000000"/>
                </a:solidFill>
                <a:latin typeface="Menlo-Regular"/>
              </a:rPr>
              <a:t>(</a:t>
            </a:r>
            <a:r>
              <a:rPr lang="en-US" sz="1400">
                <a:solidFill>
                  <a:srgbClr val="00892B"/>
                </a:solidFill>
                <a:latin typeface="Menlo-Regular"/>
              </a:rPr>
              <a:t>"Simple Word Count"</a:t>
            </a:r>
            <a:r>
              <a:rPr lang="en-US" sz="1400">
                <a:solidFill>
                  <a:srgbClr val="000000"/>
                </a:solidFill>
                <a:latin typeface="Menlo-Regular"/>
              </a:rPr>
              <a:t>)</a:t>
            </a:r>
          </a:p>
          <a:p>
            <a:endParaRPr lang="en-US" sz="1400">
              <a:solidFill>
                <a:srgbClr val="011993"/>
              </a:solidFill>
              <a:latin typeface="Menlo-Regular"/>
            </a:endParaRPr>
          </a:p>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sc</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text</a:t>
            </a:r>
            <a:r>
              <a:rPr lang="en-US" sz="1400">
                <a:solidFill>
                  <a:srgbClr val="000000"/>
                </a:solidFill>
                <a:latin typeface="Menlo-Regular"/>
              </a:rPr>
              <a:t>(</a:t>
            </a:r>
            <a:r>
              <a:rPr lang="en-US" sz="1400" err="1">
                <a:solidFill>
                  <a:srgbClr val="7B248D"/>
                </a:solidFill>
                <a:latin typeface="Menlo-Regular"/>
              </a:rPr>
              <a:t>conf</a:t>
            </a:r>
            <a:r>
              <a:rPr lang="en-US" sz="1400">
                <a:solidFill>
                  <a:srgbClr val="000000"/>
                </a:solidFill>
                <a:latin typeface="Menlo-Regular"/>
              </a:rPr>
              <a:t>)</a:t>
            </a:r>
          </a:p>
          <a:p>
            <a:endParaRPr lang="en-US" sz="1400">
              <a:solidFill>
                <a:srgbClr val="000000"/>
              </a:solidFill>
              <a:latin typeface="Helvetica" panose="020B0604020202020204" pitchFamily="34" charset="0"/>
            </a:endParaRPr>
          </a:p>
          <a:p>
            <a:r>
              <a:rPr lang="en-US" sz="1400" err="1">
                <a:solidFill>
                  <a:srgbClr val="7B248D"/>
                </a:solidFill>
                <a:latin typeface="Menlo-Regular"/>
              </a:rPr>
              <a:t>sc</a:t>
            </a:r>
            <a:r>
              <a:rPr lang="en-US" sz="1400" err="1">
                <a:solidFill>
                  <a:srgbClr val="333333"/>
                </a:solidFill>
                <a:latin typeface="Menlo-Regular"/>
              </a:rPr>
              <a:t>.textFile</a:t>
            </a:r>
            <a:r>
              <a:rPr lang="en-US" sz="1400">
                <a:solidFill>
                  <a:srgbClr val="333333"/>
                </a:solidFill>
                <a:latin typeface="Menlo-Regular"/>
              </a:rPr>
              <a:t>(words)</a:t>
            </a:r>
          </a:p>
          <a:p>
            <a:r>
              <a:rPr lang="en-US" sz="1400">
                <a:solidFill>
                  <a:srgbClr val="000000"/>
                </a:solidFill>
                <a:latin typeface="Menlo-Regular"/>
              </a:rPr>
              <a:t>.</a:t>
            </a:r>
            <a:r>
              <a:rPr lang="en-US" sz="1400" err="1">
                <a:solidFill>
                  <a:srgbClr val="000000"/>
                </a:solidFill>
                <a:latin typeface="Menlo-Regular"/>
              </a:rPr>
              <a:t>flatMap</a:t>
            </a:r>
            <a:r>
              <a:rPr lang="en-US" sz="1400">
                <a:solidFill>
                  <a:srgbClr val="000000"/>
                </a:solidFill>
                <a:latin typeface="Menlo-Regular"/>
              </a:rPr>
              <a:t>(_.split(</a:t>
            </a:r>
            <a:r>
              <a:rPr lang="en-US" sz="1400">
                <a:solidFill>
                  <a:srgbClr val="00892B"/>
                </a:solidFill>
                <a:latin typeface="Menlo-Regular"/>
              </a:rPr>
              <a:t>"\\s+"</a:t>
            </a:r>
            <a:r>
              <a:rPr lang="en-US" sz="1400">
                <a:solidFill>
                  <a:srgbClr val="000000"/>
                </a:solidFill>
                <a:latin typeface="Menlo-Regular"/>
              </a:rPr>
              <a:t>))</a:t>
            </a:r>
          </a:p>
          <a:p>
            <a:r>
              <a:rPr lang="en-US" sz="1400">
                <a:solidFill>
                  <a:srgbClr val="333333"/>
                </a:solidFill>
                <a:latin typeface="Menlo-Regular"/>
              </a:rPr>
              <a:t>.map(word </a:t>
            </a:r>
            <a:r>
              <a:rPr lang="en-US" sz="1400">
                <a:solidFill>
                  <a:srgbClr val="A71D5E"/>
                </a:solidFill>
                <a:latin typeface="Menlo-Regular"/>
              </a:rPr>
              <a:t>=&gt; </a:t>
            </a:r>
            <a:r>
              <a:rPr lang="en-US" sz="1400">
                <a:solidFill>
                  <a:srgbClr val="333333"/>
                </a:solidFill>
                <a:latin typeface="Menlo-Regular"/>
              </a:rPr>
              <a:t>(</a:t>
            </a:r>
            <a:r>
              <a:rPr lang="en-US" sz="1400" err="1">
                <a:solidFill>
                  <a:srgbClr val="333333"/>
                </a:solidFill>
                <a:latin typeface="Menlo-Regular"/>
              </a:rPr>
              <a:t>word.toLowerCase</a:t>
            </a:r>
            <a:r>
              <a:rPr lang="en-US" sz="1400">
                <a:solidFill>
                  <a:srgbClr val="333333"/>
                </a:solidFill>
                <a:latin typeface="Menlo-Regular"/>
              </a:rPr>
              <a:t>, </a:t>
            </a:r>
            <a:r>
              <a:rPr lang="en-US" sz="1400">
                <a:solidFill>
                  <a:srgbClr val="0086B4"/>
                </a:solidFill>
                <a:latin typeface="Menlo-Regular"/>
              </a:rPr>
              <a:t>1</a:t>
            </a:r>
            <a:r>
              <a:rPr lang="en-US" sz="1400">
                <a:solidFill>
                  <a:srgbClr val="333333"/>
                </a:solidFill>
                <a:latin typeface="Menlo-Regular"/>
              </a:rPr>
              <a:t>))</a:t>
            </a:r>
          </a:p>
          <a:p>
            <a:r>
              <a:rPr lang="en-US" sz="1400">
                <a:solidFill>
                  <a:srgbClr val="333333"/>
                </a:solidFill>
                <a:latin typeface="Menlo-Regular"/>
              </a:rPr>
              <a:t>.</a:t>
            </a:r>
            <a:r>
              <a:rPr lang="en-US" sz="1400" err="1">
                <a:solidFill>
                  <a:srgbClr val="333333"/>
                </a:solidFill>
                <a:latin typeface="Menlo-Regular"/>
              </a:rPr>
              <a:t>reduceByKey</a:t>
            </a:r>
            <a:r>
              <a:rPr lang="en-US" sz="1400">
                <a:solidFill>
                  <a:srgbClr val="333333"/>
                </a:solidFill>
                <a:latin typeface="Menlo-Regular"/>
              </a:rPr>
              <a:t>(_ </a:t>
            </a:r>
            <a:r>
              <a:rPr lang="en-US" sz="1400">
                <a:solidFill>
                  <a:srgbClr val="A71D5E"/>
                </a:solidFill>
                <a:latin typeface="Menlo-Regular"/>
              </a:rPr>
              <a:t>+ </a:t>
            </a:r>
            <a:r>
              <a:rPr lang="en-US" sz="1400">
                <a:solidFill>
                  <a:srgbClr val="333333"/>
                </a:solidFill>
                <a:latin typeface="Menlo-Regular"/>
              </a:rPr>
              <a:t>_)</a:t>
            </a:r>
          </a:p>
          <a:p>
            <a:r>
              <a:rPr lang="en-US" sz="1400">
                <a:solidFill>
                  <a:srgbClr val="333333"/>
                </a:solidFill>
                <a:latin typeface="Menlo-Regular"/>
              </a:rPr>
              <a:t>.collect </a:t>
            </a:r>
            <a:r>
              <a:rPr lang="en-US" sz="1400" err="1">
                <a:solidFill>
                  <a:srgbClr val="333333"/>
                </a:solidFill>
                <a:latin typeface="Menlo-Regular"/>
              </a:rPr>
              <a:t>foreach</a:t>
            </a:r>
            <a:r>
              <a:rPr lang="en-US" sz="1400">
                <a:solidFill>
                  <a:srgbClr val="333333"/>
                </a:solidFill>
                <a:latin typeface="Menlo-Regular"/>
              </a:rPr>
              <a:t> </a:t>
            </a:r>
            <a:r>
              <a:rPr lang="en-US" sz="1400" err="1">
                <a:solidFill>
                  <a:srgbClr val="333333"/>
                </a:solidFill>
                <a:latin typeface="Menlo-Regular"/>
              </a:rPr>
              <a:t>println</a:t>
            </a:r>
            <a:endParaRPr lang="en-US" sz="1400"/>
          </a:p>
        </p:txBody>
      </p:sp>
      <p:sp>
        <p:nvSpPr>
          <p:cNvPr id="7" name="Rectangle 6"/>
          <p:cNvSpPr/>
          <p:nvPr/>
        </p:nvSpPr>
        <p:spPr>
          <a:xfrm>
            <a:off x="623037" y="5591881"/>
            <a:ext cx="2039982" cy="369332"/>
          </a:xfrm>
          <a:prstGeom prst="rect">
            <a:avLst/>
          </a:prstGeom>
        </p:spPr>
        <p:txBody>
          <a:bodyPr wrap="none">
            <a:spAutoFit/>
          </a:bodyPr>
          <a:lstStyle/>
          <a:p>
            <a:r>
              <a:rPr lang="en-US">
                <a:latin typeface="Helvetica" panose="020B0604020202020204" pitchFamily="34" charset="0"/>
              </a:rPr>
              <a:t>Basic Word Count</a:t>
            </a:r>
            <a:endParaRPr lang="en-US"/>
          </a:p>
        </p:txBody>
      </p:sp>
      <p:sp>
        <p:nvSpPr>
          <p:cNvPr id="8" name="Rectangle 7"/>
          <p:cNvSpPr/>
          <p:nvPr/>
        </p:nvSpPr>
        <p:spPr>
          <a:xfrm>
            <a:off x="4039368" y="2598511"/>
            <a:ext cx="6062728" cy="1661993"/>
          </a:xfrm>
          <a:prstGeom prst="rect">
            <a:avLst/>
          </a:prstGeom>
        </p:spPr>
        <p:txBody>
          <a:bodyPr wrap="square">
            <a:spAutoFit/>
          </a:bodyPr>
          <a:lstStyle/>
          <a:p>
            <a:r>
              <a:rPr lang="en-US" sz="1200">
                <a:solidFill>
                  <a:srgbClr val="333333"/>
                </a:solidFill>
                <a:latin typeface="Menlo-Regular"/>
              </a:rPr>
              <a:t>/** Returns the top (k) highest temps for any location in the `year`. */</a:t>
            </a:r>
          </a:p>
          <a:p>
            <a:r>
              <a:rPr lang="en-US" sz="1200" b="1" err="1">
                <a:solidFill>
                  <a:srgbClr val="000000"/>
                </a:solidFill>
                <a:latin typeface="Menlo-Bold"/>
              </a:rPr>
              <a:t>val</a:t>
            </a:r>
            <a:r>
              <a:rPr lang="en-US" sz="1200" b="1">
                <a:solidFill>
                  <a:srgbClr val="000000"/>
                </a:solidFill>
                <a:latin typeface="Menlo-Bold"/>
              </a:rPr>
              <a:t> k = 20</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p>
          <a:p>
            <a:endParaRPr lang="en-US" sz="1000">
              <a:solidFill>
                <a:srgbClr val="000000"/>
              </a:solidFill>
              <a:latin typeface="Helvetica" panose="020B0604020202020204" pitchFamily="34" charset="0"/>
            </a:endParaRPr>
          </a:p>
          <a:p>
            <a:r>
              <a:rPr lang="en-US" sz="1200">
                <a:solidFill>
                  <a:srgbClr val="333333"/>
                </a:solidFill>
                <a:latin typeface="Menlo-Regular"/>
              </a:rPr>
              <a:t>/** Returns the top (k) highest temps … in a Future */</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Future[</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r>
              <a:rPr lang="en-US" sz="1400" b="1" err="1">
                <a:solidFill>
                  <a:srgbClr val="333333"/>
                </a:solidFill>
                <a:latin typeface="Menlo-Bold"/>
              </a:rPr>
              <a:t>collectAsync</a:t>
            </a:r>
            <a:endParaRPr lang="en-US" sz="1400"/>
          </a:p>
        </p:txBody>
      </p:sp>
      <p:sp>
        <p:nvSpPr>
          <p:cNvPr id="9" name="Rectangle 8"/>
          <p:cNvSpPr/>
          <p:nvPr/>
        </p:nvSpPr>
        <p:spPr>
          <a:xfrm>
            <a:off x="593463" y="3244841"/>
            <a:ext cx="1851854" cy="369332"/>
          </a:xfrm>
          <a:prstGeom prst="rect">
            <a:avLst/>
          </a:prstGeom>
        </p:spPr>
        <p:txBody>
          <a:bodyPr wrap="none">
            <a:spAutoFit/>
          </a:bodyPr>
          <a:lstStyle/>
          <a:p>
            <a:r>
              <a:rPr lang="en-US">
                <a:latin typeface="Helvetica" panose="020B0604020202020204" pitchFamily="34" charset="0"/>
              </a:rPr>
              <a:t>Easy to Use API</a:t>
            </a:r>
            <a:endParaRPr lang="en-US"/>
          </a:p>
        </p:txBody>
      </p:sp>
    </p:spTree>
    <p:extLst>
      <p:ext uri="{BB962C8B-B14F-4D97-AF65-F5344CB8AC3E}">
        <p14:creationId xmlns:p14="http://schemas.microsoft.com/office/powerpoint/2010/main" val="7923689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park Use Cases</a:t>
            </a:r>
          </a:p>
        </p:txBody>
      </p:sp>
      <p:sp>
        <p:nvSpPr>
          <p:cNvPr id="4" name="Text Placeholder 5"/>
          <p:cNvSpPr>
            <a:spLocks noGrp="1"/>
          </p:cNvSpPr>
          <p:nvPr>
            <p:ph type="body" sz="quarter" idx="10"/>
          </p:nvPr>
        </p:nvSpPr>
        <p:spPr>
          <a:xfrm>
            <a:off x="307043" y="1574639"/>
            <a:ext cx="4669403" cy="3626785"/>
          </a:xfrm>
        </p:spPr>
        <p:txBody>
          <a:bodyPr/>
          <a:lstStyle/>
          <a:p>
            <a:r>
              <a:rPr lang="en-US" sz="2800"/>
              <a:t>Interactive Data Analysis and BI</a:t>
            </a:r>
          </a:p>
          <a:p>
            <a:r>
              <a:rPr lang="en-US" sz="2800"/>
              <a:t>Iterative Machine Learning</a:t>
            </a:r>
          </a:p>
          <a:p>
            <a:r>
              <a:rPr lang="en-US" sz="2800"/>
              <a:t>Streaming and Real Time data analysis</a:t>
            </a:r>
          </a:p>
        </p:txBody>
      </p:sp>
      <p:pic>
        <p:nvPicPr>
          <p:cNvPr id="5" name="Picture 4"/>
          <p:cNvPicPr/>
          <p:nvPr/>
        </p:nvPicPr>
        <p:blipFill rotWithShape="1">
          <a:blip r:embed="rId3"/>
          <a:srcRect l="25828" t="37047" r="26515" b="10335"/>
          <a:stretch/>
        </p:blipFill>
        <p:spPr bwMode="auto">
          <a:xfrm>
            <a:off x="5671038" y="1245702"/>
            <a:ext cx="5996354" cy="428466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7822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1445869"/>
            <a:ext cx="11653523" cy="4224169"/>
          </a:xfrm>
        </p:spPr>
        <p:txBody>
          <a:bodyPr/>
          <a:lstStyle/>
          <a:p>
            <a:r>
              <a:rPr lang="en-US"/>
              <a:t>Power BI </a:t>
            </a:r>
          </a:p>
          <a:p>
            <a:pPr lvl="1"/>
            <a:r>
              <a:rPr lang="en-US">
                <a:hlinkClick r:id="rId3"/>
              </a:rPr>
              <a:t>https://azure.microsoft.com/en-us/documentation/articles/hdinsight-apache-spark-use-bi-tools/</a:t>
            </a:r>
            <a:r>
              <a:rPr lang="en-US"/>
              <a:t> </a:t>
            </a:r>
          </a:p>
          <a:p>
            <a:r>
              <a:rPr lang="en-US"/>
              <a:t>Zeppelin </a:t>
            </a:r>
          </a:p>
          <a:p>
            <a:pPr lvl="1"/>
            <a:r>
              <a:rPr lang="en-US">
                <a:hlinkClick r:id="rId4"/>
              </a:rPr>
              <a:t>https://azure.microsoft.com/en-us/documentation/articles/hdinsight-apache-spark-use-zeppelin-notebook/</a:t>
            </a:r>
            <a:r>
              <a:rPr lang="en-US"/>
              <a:t>   </a:t>
            </a:r>
          </a:p>
          <a:p>
            <a:r>
              <a:rPr lang="en-US" err="1"/>
              <a:t>Jupyter</a:t>
            </a:r>
            <a:r>
              <a:rPr lang="en-US"/>
              <a:t>/ </a:t>
            </a:r>
            <a:r>
              <a:rPr lang="en-US" err="1"/>
              <a:t>iPython</a:t>
            </a:r>
            <a:r>
              <a:rPr lang="en-US"/>
              <a:t> Notebook</a:t>
            </a:r>
          </a:p>
          <a:p>
            <a:pPr lvl="1"/>
            <a:r>
              <a:rPr lang="en-US">
                <a:hlinkClick r:id="rId5"/>
              </a:rPr>
              <a:t>https://azure.microsoft.com/en-us/documentation/articles/hdinsight-apache-spark-jupyter-notebook-install-locally/</a:t>
            </a:r>
            <a:r>
              <a:rPr lang="en-US"/>
              <a:t> </a:t>
            </a:r>
          </a:p>
        </p:txBody>
      </p:sp>
      <p:sp>
        <p:nvSpPr>
          <p:cNvPr id="17" name="Title 16"/>
          <p:cNvSpPr>
            <a:spLocks noGrp="1"/>
          </p:cNvSpPr>
          <p:nvPr>
            <p:ph type="title"/>
          </p:nvPr>
        </p:nvSpPr>
        <p:spPr/>
        <p:txBody>
          <a:bodyPr/>
          <a:lstStyle/>
          <a:p>
            <a:r>
              <a:rPr lang="en-US"/>
              <a:t>Reporting Tools with Spark </a:t>
            </a:r>
          </a:p>
        </p:txBody>
      </p:sp>
    </p:spTree>
    <p:extLst>
      <p:ext uri="{BB962C8B-B14F-4D97-AF65-F5344CB8AC3E}">
        <p14:creationId xmlns:p14="http://schemas.microsoft.com/office/powerpoint/2010/main" val="114337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079" name="think-cell Slide" r:id="rId5" imgW="377" imgH="377" progId="TCLayout.ActiveDocument.1">
                  <p:embed/>
                </p:oleObj>
              </mc:Choice>
              <mc:Fallback>
                <p:oleObj name="think-cell Slide" r:id="rId5" imgW="377" imgH="377" progId="TCLayout.ActiveDocument.1">
                  <p:embed/>
                  <p:pic>
                    <p:nvPicPr>
                      <p:cNvPr id="31" name="Object 30"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pache HBase: What is it?</a:t>
            </a:r>
          </a:p>
        </p:txBody>
      </p:sp>
      <p:sp>
        <p:nvSpPr>
          <p:cNvPr id="20" name="Rectangle 19"/>
          <p:cNvSpPr/>
          <p:nvPr/>
        </p:nvSpPr>
        <p:spPr>
          <a:xfrm>
            <a:off x="457201" y="1366281"/>
            <a:ext cx="11246850" cy="407660"/>
          </a:xfrm>
          <a:prstGeom prst="rect">
            <a:avLst/>
          </a:prstGeom>
          <a:solidFill>
            <a:schemeClr val="accent3"/>
          </a:solidFill>
          <a:ln w="3175">
            <a:noFill/>
          </a:ln>
        </p:spPr>
        <p:txBody>
          <a:bodyPr wrap="square" lIns="0" tIns="0" rIns="0" bIns="0">
            <a:noAutofit/>
          </a:bodyPr>
          <a:lstStyle/>
          <a:p>
            <a:pPr marL="0" marR="0" lvl="1" indent="0" algn="ctr" defTabSz="913770" rtl="0" eaLnBrk="1" fontAlgn="base" latinLnBrk="0" hangingPunct="1">
              <a:lnSpc>
                <a:spcPct val="100000"/>
              </a:lnSpc>
              <a:spcBef>
                <a:spcPts val="588"/>
              </a:spcBef>
              <a:spcAft>
                <a:spcPts val="0"/>
              </a:spcAft>
              <a:buClr>
                <a:srgbClr val="68217A">
                  <a:lumMod val="50000"/>
                </a:srgbClr>
              </a:buClr>
              <a:buSzTx/>
              <a:buFontTx/>
              <a:buNone/>
              <a:tabLst>
                <a:tab pos="645523" algn="l"/>
              </a:tabLst>
              <a:defRPr/>
            </a:pPr>
            <a:r>
              <a:rPr kumimoji="0" lang="en-IN" sz="2353"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A distributed, columnar, NoSQL database based on Hadoop </a:t>
            </a:r>
          </a:p>
        </p:txBody>
      </p:sp>
      <p:sp>
        <p:nvSpPr>
          <p:cNvPr id="23" name="Rectangle 22"/>
          <p:cNvSpPr/>
          <p:nvPr/>
        </p:nvSpPr>
        <p:spPr>
          <a:xfrm>
            <a:off x="567587" y="2255706"/>
            <a:ext cx="5606771" cy="3853260"/>
          </a:xfrm>
          <a:prstGeom prst="rect">
            <a:avLst/>
          </a:prstGeom>
          <a:noFill/>
          <a:ln w="3175">
            <a:noFill/>
          </a:ln>
        </p:spPr>
        <p:txBody>
          <a:bodyPr wrap="square" lIns="0" tIns="0" rIns="0" bIns="0">
            <a:noAutofit/>
          </a:bodyPr>
          <a:lstStyle/>
          <a:p>
            <a:pPr marL="342900" marR="0" lvl="1" indent="-342900" algn="l" defTabSz="913770" rtl="0" eaLnBrk="1" fontAlgn="base" latinLnBrk="0" hangingPunct="1">
              <a:lnSpc>
                <a:spcPct val="100000"/>
              </a:lnSpc>
              <a:spcBef>
                <a:spcPts val="588"/>
              </a:spcBef>
              <a:spcAft>
                <a:spcPts val="0"/>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Large scale</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Linear scalability with automatic partitioning</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Billions of rows X millions of columns</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Many deployments with 1000+ nodes, PBs of data</a:t>
            </a:r>
          </a:p>
          <a:p>
            <a:pPr marL="342900" marR="0" lvl="1" indent="-342900" algn="l" defTabSz="913770" rtl="0" eaLnBrk="1" fontAlgn="base" latinLnBrk="0" hangingPunct="1">
              <a:lnSpc>
                <a:spcPct val="100000"/>
              </a:lnSpc>
              <a:spcBef>
                <a:spcPts val="588"/>
              </a:spcBef>
              <a:spcAft>
                <a:spcPts val="196"/>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Low latency</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765"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Supports Real-time random read &amp; writes</a:t>
            </a:r>
          </a:p>
          <a:p>
            <a:pPr marL="342900" marR="0" lvl="1" indent="-342900" algn="l" defTabSz="913770" rtl="0" eaLnBrk="1" fontAlgn="base" latinLnBrk="0" hangingPunct="1">
              <a:lnSpc>
                <a:spcPct val="100000"/>
              </a:lnSpc>
              <a:spcBef>
                <a:spcPts val="588"/>
              </a:spcBef>
              <a:spcAft>
                <a:spcPts val="196"/>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Strongly consistent Read and Writes</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Supports Transactions (not fully ACID)</a:t>
            </a:r>
          </a:p>
          <a:p>
            <a:pPr marL="342900" marR="0" lvl="1" indent="-342900" algn="l" defTabSz="913770" rtl="0" eaLnBrk="1" fontAlgn="base" latinLnBrk="0" hangingPunct="1">
              <a:lnSpc>
                <a:spcPct val="100000"/>
              </a:lnSpc>
              <a:spcBef>
                <a:spcPts val="588"/>
              </a:spcBef>
              <a:spcAft>
                <a:spcPts val="196"/>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Reliable and Fault Tolerant</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Automatic failover in case of server failure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49</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 name="Group 3"/>
          <p:cNvGrpSpPr/>
          <p:nvPr/>
        </p:nvGrpSpPr>
        <p:grpSpPr>
          <a:xfrm>
            <a:off x="7352200" y="2405758"/>
            <a:ext cx="3179166" cy="3400166"/>
            <a:chOff x="7005358" y="2220241"/>
            <a:chExt cx="4318839" cy="4471072"/>
          </a:xfrm>
        </p:grpSpPr>
        <p:sp>
          <p:nvSpPr>
            <p:cNvPr id="32" name="Freeform 31"/>
            <p:cNvSpPr/>
            <p:nvPr/>
          </p:nvSpPr>
          <p:spPr>
            <a:xfrm flipH="1">
              <a:off x="10197016" y="3371710"/>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33"/>
            <p:cNvSpPr/>
            <p:nvPr/>
          </p:nvSpPr>
          <p:spPr>
            <a:xfrm flipH="1">
              <a:off x="7005358" y="3555225"/>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34"/>
            <p:cNvSpPr/>
            <p:nvPr/>
          </p:nvSpPr>
          <p:spPr>
            <a:xfrm flipH="1">
              <a:off x="7769399" y="5353104"/>
              <a:ext cx="421451" cy="616665"/>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37"/>
            <p:cNvSpPr/>
            <p:nvPr/>
          </p:nvSpPr>
          <p:spPr>
            <a:xfrm flipH="1">
              <a:off x="10691090" y="2220242"/>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8"/>
            <p:cNvSpPr/>
            <p:nvPr/>
          </p:nvSpPr>
          <p:spPr>
            <a:xfrm flipH="1">
              <a:off x="8992872" y="2220241"/>
              <a:ext cx="296948" cy="434492"/>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Freeform 39"/>
            <p:cNvSpPr/>
            <p:nvPr/>
          </p:nvSpPr>
          <p:spPr bwMode="auto">
            <a:xfrm>
              <a:off x="10197016" y="5377078"/>
              <a:ext cx="988148" cy="1314235"/>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 name="Freeform 40"/>
            <p:cNvSpPr/>
            <p:nvPr/>
          </p:nvSpPr>
          <p:spPr bwMode="auto">
            <a:xfrm>
              <a:off x="7011318" y="5686172"/>
              <a:ext cx="635781" cy="845588"/>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2" name="Freeform 41"/>
            <p:cNvSpPr/>
            <p:nvPr/>
          </p:nvSpPr>
          <p:spPr bwMode="auto">
            <a:xfrm>
              <a:off x="7983296" y="2570870"/>
              <a:ext cx="635781" cy="845588"/>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3" name="Freeform 42"/>
            <p:cNvSpPr/>
            <p:nvPr/>
          </p:nvSpPr>
          <p:spPr bwMode="auto">
            <a:xfrm>
              <a:off x="9205194" y="307273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4" name="Freeform 43"/>
            <p:cNvSpPr/>
            <p:nvPr/>
          </p:nvSpPr>
          <p:spPr bwMode="auto">
            <a:xfrm>
              <a:off x="10850292" y="454010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5" name="Freeform 44"/>
            <p:cNvSpPr/>
            <p:nvPr/>
          </p:nvSpPr>
          <p:spPr bwMode="auto">
            <a:xfrm>
              <a:off x="7815860" y="454010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6" name="Group 45"/>
            <p:cNvGrpSpPr/>
            <p:nvPr/>
          </p:nvGrpSpPr>
          <p:grpSpPr>
            <a:xfrm>
              <a:off x="8349049" y="3807749"/>
              <a:ext cx="1670243" cy="2221423"/>
              <a:chOff x="8732614" y="3158668"/>
              <a:chExt cx="1703735" cy="2265967"/>
            </a:xfrm>
          </p:grpSpPr>
          <p:sp>
            <p:nvSpPr>
              <p:cNvPr id="47" name="Freeform 46"/>
              <p:cNvSpPr/>
              <p:nvPr/>
            </p:nvSpPr>
            <p:spPr bwMode="auto">
              <a:xfrm>
                <a:off x="8732614" y="3158668"/>
                <a:ext cx="1703735" cy="2265967"/>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3137"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48"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39691" y="4287387"/>
                <a:ext cx="1489581" cy="270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0" name="Rectangle 49"/>
          <p:cNvSpPr/>
          <p:nvPr/>
        </p:nvSpPr>
        <p:spPr>
          <a:xfrm>
            <a:off x="2866696" y="7181363"/>
            <a:ext cx="5266225" cy="1075710"/>
          </a:xfrm>
          <a:prstGeom prst="rect">
            <a:avLst/>
          </a:prstGeom>
          <a:noFill/>
          <a:ln w="3175">
            <a:noFill/>
          </a:ln>
        </p:spPr>
        <p:txBody>
          <a:bodyPr wrap="square" lIns="0" tIns="0" rIns="0" bIns="0">
            <a:noAutofit/>
          </a:bodyPr>
          <a:lstStyle/>
          <a:p>
            <a:pPr marL="0" marR="0" lvl="1" indent="0" algn="l" defTabSz="913770" rtl="0" eaLnBrk="1" fontAlgn="base" latinLnBrk="0" hangingPunct="1">
              <a:lnSpc>
                <a:spcPct val="100000"/>
              </a:lnSpc>
              <a:spcBef>
                <a:spcPts val="588"/>
              </a:spcBef>
              <a:spcAft>
                <a:spcPts val="0"/>
              </a:spcAft>
              <a:buClr>
                <a:srgbClr val="68217A">
                  <a:lumMod val="50000"/>
                </a:srgbClr>
              </a:buClr>
              <a:buSzTx/>
              <a:buFontTx/>
              <a:buNone/>
              <a:tabLst>
                <a:tab pos="645523" algn="l"/>
              </a:tabLst>
              <a:defRPr/>
            </a:pPr>
            <a:r>
              <a:rPr kumimoji="0" lang="en-IN" sz="2353"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Open source</a:t>
            </a:r>
          </a:p>
          <a:p>
            <a:pPr marL="0" marR="0" lvl="1" indent="0" algn="l" defTabSz="913770" rtl="0" eaLnBrk="1" fontAlgn="base" latinLnBrk="0" hangingPunct="1">
              <a:lnSpc>
                <a:spcPct val="100000"/>
              </a:lnSpc>
              <a:spcBef>
                <a:spcPts val="196"/>
              </a:spcBef>
              <a:spcAft>
                <a:spcPts val="196"/>
              </a:spcAft>
              <a:buClr>
                <a:srgbClr val="68217A">
                  <a:lumMod val="50000"/>
                </a:srgbClr>
              </a:buClr>
              <a:buSzTx/>
              <a:buFontTx/>
              <a:buNone/>
              <a:tabLst>
                <a:tab pos="645523" algn="l"/>
              </a:tabLst>
              <a:defRPr/>
            </a:pPr>
            <a:r>
              <a:rPr kumimoji="0" lang="en-IN" sz="1765" b="0" i="0" u="none" strike="noStrike" kern="1200" cap="none" spc="0" normalizeH="0" baseline="0" noProof="0" dirty="0" err="1">
                <a:ln>
                  <a:noFill/>
                </a:ln>
                <a:solidFill>
                  <a:srgbClr val="505050"/>
                </a:solidFill>
                <a:effectLst/>
                <a:uLnTx/>
                <a:uFillTx/>
                <a:latin typeface="Segoe UI"/>
                <a:ea typeface="Segoe UI" pitchFamily="34" charset="0"/>
                <a:cs typeface="Segoe UI" pitchFamily="34" charset="0"/>
              </a:rPr>
              <a:t>Modeled</a:t>
            </a:r>
            <a:r>
              <a:rPr kumimoji="0" lang="en-IN" sz="1765"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 after Google’s </a:t>
            </a:r>
            <a:r>
              <a:rPr kumimoji="0" lang="en-IN" sz="1765" b="0" i="0" u="none" strike="noStrike" kern="1200" cap="none" spc="0" normalizeH="0" baseline="0" noProof="0" dirty="0" err="1">
                <a:ln>
                  <a:noFill/>
                </a:ln>
                <a:solidFill>
                  <a:srgbClr val="505050"/>
                </a:solidFill>
                <a:effectLst/>
                <a:uLnTx/>
                <a:uFillTx/>
                <a:latin typeface="Segoe UI"/>
                <a:ea typeface="Segoe UI" pitchFamily="34" charset="0"/>
                <a:cs typeface="Segoe UI" pitchFamily="34" charset="0"/>
              </a:rPr>
              <a:t>BigTable</a:t>
            </a:r>
            <a:endParaRPr kumimoji="0" lang="en-IN" sz="1765"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90671274"/>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Batch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sz="2745" kern="0" spc="0">
                <a:solidFill>
                  <a:srgbClr val="FFFFFF"/>
                </a:solidFill>
              </a:rPr>
              <a:t>Stores master dataset (in append mode)</a:t>
            </a:r>
          </a:p>
          <a:p>
            <a:pPr marL="448107" indent="-448107">
              <a:spcAft>
                <a:spcPts val="588"/>
              </a:spcAft>
              <a:buFont typeface="Arial" panose="020B0604020202020204" pitchFamily="34" charset="0"/>
              <a:buChar char="•"/>
            </a:pPr>
            <a:r>
              <a:rPr sz="2745" kern="0" spc="0">
                <a:solidFill>
                  <a:srgbClr val="FFFFFF"/>
                </a:solidFill>
              </a:rPr>
              <a:t>Unrestrained computation</a:t>
            </a:r>
          </a:p>
          <a:p>
            <a:pPr marL="448107" indent="-448107">
              <a:spcAft>
                <a:spcPts val="588"/>
              </a:spcAft>
              <a:buFont typeface="Arial" panose="020B0604020202020204" pitchFamily="34" charset="0"/>
              <a:buChar char="•"/>
            </a:pPr>
            <a:r>
              <a:rPr sz="2745" kern="0" spc="0">
                <a:solidFill>
                  <a:srgbClr val="FFFFFF"/>
                </a:solidFill>
              </a:rPr>
              <a:t>Horizontally scalable</a:t>
            </a:r>
          </a:p>
          <a:p>
            <a:pPr marL="448107" indent="-448107">
              <a:spcAft>
                <a:spcPts val="588"/>
              </a:spcAft>
              <a:buFont typeface="Arial" panose="020B0604020202020204" pitchFamily="34" charset="0"/>
              <a:buChar char="•"/>
            </a:pPr>
            <a:r>
              <a:rPr sz="2745" kern="0" spc="0">
                <a:solidFill>
                  <a:srgbClr val="FFFFFF"/>
                </a:solidFill>
              </a:rPr>
              <a:t>High latency</a:t>
            </a:r>
          </a:p>
        </p:txBody>
      </p:sp>
      <p:sp>
        <p:nvSpPr>
          <p:cNvPr id="14" name="Rectangle 13"/>
          <p:cNvSpPr/>
          <p:nvPr/>
        </p:nvSpPr>
        <p:spPr bwMode="auto">
          <a:xfrm>
            <a:off x="5564751" y="3526992"/>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sp>
        <p:nvSpPr>
          <p:cNvPr id="15" name="Rectangle 14"/>
          <p:cNvSpPr/>
          <p:nvPr/>
        </p:nvSpPr>
        <p:spPr bwMode="auto">
          <a:xfrm>
            <a:off x="7863316" y="3281780"/>
            <a:ext cx="1729700"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Master </a:t>
            </a:r>
          </a:p>
          <a:p>
            <a:pPr algn="ctr" defTabSz="913405"/>
            <a:r>
              <a:rPr lang="en-US" sz="1961">
                <a:solidFill>
                  <a:srgbClr val="FFFFFF">
                    <a:alpha val="99000"/>
                  </a:srgbClr>
                </a:solidFill>
              </a:rPr>
              <a:t>dataset</a:t>
            </a:r>
          </a:p>
        </p:txBody>
      </p:sp>
      <p:cxnSp>
        <p:nvCxnSpPr>
          <p:cNvPr id="21" name="Straight Arrow Connector 20"/>
          <p:cNvCxnSpPr>
            <a:stCxn id="14" idx="3"/>
            <a:endCxn id="15" idx="1"/>
          </p:cNvCxnSpPr>
          <p:nvPr/>
        </p:nvCxnSpPr>
        <p:spPr>
          <a:xfrm>
            <a:off x="7324520" y="3910615"/>
            <a:ext cx="538796"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10280567" y="2691402"/>
            <a:ext cx="1251258" cy="253134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algn="ctr" defTabSz="913405"/>
            <a:r>
              <a:rPr lang="en-US" sz="1567">
                <a:solidFill>
                  <a:schemeClr val="tx1">
                    <a:alpha val="99000"/>
                  </a:schemeClr>
                </a:solidFill>
              </a:rPr>
              <a:t>Batch views</a:t>
            </a:r>
          </a:p>
        </p:txBody>
      </p:sp>
      <p:sp>
        <p:nvSpPr>
          <p:cNvPr id="12" name="Can 11"/>
          <p:cNvSpPr/>
          <p:nvPr/>
        </p:nvSpPr>
        <p:spPr bwMode="auto">
          <a:xfrm>
            <a:off x="10490276" y="2895617"/>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8" name="Can 17"/>
          <p:cNvSpPr/>
          <p:nvPr/>
        </p:nvSpPr>
        <p:spPr bwMode="auto">
          <a:xfrm>
            <a:off x="10490276" y="3916808"/>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28" name="Straight Arrow Connector 27"/>
          <p:cNvCxnSpPr>
            <a:stCxn id="15" idx="3"/>
            <a:endCxn id="12" idx="2"/>
          </p:cNvCxnSpPr>
          <p:nvPr/>
        </p:nvCxnSpPr>
        <p:spPr>
          <a:xfrm flipV="1">
            <a:off x="9593015" y="3374505"/>
            <a:ext cx="897261" cy="53611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5" idx="3"/>
            <a:endCxn id="18" idx="2"/>
          </p:cNvCxnSpPr>
          <p:nvPr/>
        </p:nvCxnSpPr>
        <p:spPr>
          <a:xfrm>
            <a:off x="9593015" y="3910617"/>
            <a:ext cx="897261" cy="48507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7870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Data model</a:t>
            </a:r>
          </a:p>
        </p:txBody>
      </p:sp>
      <p:graphicFrame>
        <p:nvGraphicFramePr>
          <p:cNvPr id="71" name="Table 70"/>
          <p:cNvGraphicFramePr>
            <a:graphicFrameLocks noGrp="1"/>
          </p:cNvGraphicFramePr>
          <p:nvPr>
            <p:extLst/>
          </p:nvPr>
        </p:nvGraphicFramePr>
        <p:xfrm>
          <a:off x="6068505" y="1779070"/>
          <a:ext cx="5842014" cy="1633356"/>
        </p:xfrm>
        <a:graphic>
          <a:graphicData uri="http://schemas.openxmlformats.org/drawingml/2006/table">
            <a:tbl>
              <a:tblPr firstRow="1" bandRow="1"/>
              <a:tblGrid>
                <a:gridCol w="1187324">
                  <a:extLst>
                    <a:ext uri="{9D8B030D-6E8A-4147-A177-3AD203B41FA5}">
                      <a16:colId xmlns:a16="http://schemas.microsoft.com/office/drawing/2014/main" val="20000"/>
                    </a:ext>
                  </a:extLst>
                </a:gridCol>
                <a:gridCol w="1249668">
                  <a:extLst>
                    <a:ext uri="{9D8B030D-6E8A-4147-A177-3AD203B41FA5}">
                      <a16:colId xmlns:a16="http://schemas.microsoft.com/office/drawing/2014/main" val="20001"/>
                    </a:ext>
                  </a:extLst>
                </a:gridCol>
                <a:gridCol w="1457684">
                  <a:extLst>
                    <a:ext uri="{9D8B030D-6E8A-4147-A177-3AD203B41FA5}">
                      <a16:colId xmlns:a16="http://schemas.microsoft.com/office/drawing/2014/main" val="20002"/>
                    </a:ext>
                  </a:extLst>
                </a:gridCol>
                <a:gridCol w="973669">
                  <a:extLst>
                    <a:ext uri="{9D8B030D-6E8A-4147-A177-3AD203B41FA5}">
                      <a16:colId xmlns:a16="http://schemas.microsoft.com/office/drawing/2014/main" val="20003"/>
                    </a:ext>
                  </a:extLst>
                </a:gridCol>
                <a:gridCol w="973669">
                  <a:extLst>
                    <a:ext uri="{9D8B030D-6E8A-4147-A177-3AD203B41FA5}">
                      <a16:colId xmlns:a16="http://schemas.microsoft.com/office/drawing/2014/main" val="20004"/>
                    </a:ext>
                  </a:extLst>
                </a:gridCol>
              </a:tblGrid>
              <a:tr h="292832">
                <a:tc>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Row Key </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gridSpan="2">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Customer</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hMerge="1">
                  <a:txBody>
                    <a:bodyPr/>
                    <a:lstStyle/>
                    <a:p>
                      <a:endParaRPr lang="en-IN"/>
                    </a:p>
                  </a:txBody>
                  <a:tcPr/>
                </a:tc>
                <a:tc gridSpan="2">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Sales</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hMerge="1">
                  <a:txBody>
                    <a:bodyPr/>
                    <a:lstStyle/>
                    <a:p>
                      <a:endParaRPr lang="en-IN"/>
                    </a:p>
                  </a:txBody>
                  <a:tcPr/>
                </a:tc>
                <a:extLst>
                  <a:ext uri="{0D108BD9-81ED-4DB2-BD59-A6C34878D82A}">
                    <a16:rowId xmlns:a16="http://schemas.microsoft.com/office/drawing/2014/main" val="10000"/>
                  </a:ext>
                </a:extLst>
              </a:tr>
              <a:tr h="262951">
                <a:tc>
                  <a:txBody>
                    <a:bodyPr/>
                    <a:lstStyle/>
                    <a:p>
                      <a:r>
                        <a:rPr lang="en-IN" sz="1400" dirty="0">
                          <a:solidFill>
                            <a:schemeClr val="tx2"/>
                          </a:solidFill>
                        </a:rPr>
                        <a:t>Customer Id</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Name</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City</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Product</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Amount</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62951">
                <a:tc>
                  <a:txBody>
                    <a:bodyPr/>
                    <a:lstStyle/>
                    <a:p>
                      <a:r>
                        <a:rPr lang="en-IN" sz="1400" dirty="0">
                          <a:solidFill>
                            <a:schemeClr val="tx2"/>
                          </a:solidFill>
                        </a:rPr>
                        <a:t>101</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John White</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Los Angeles, CA</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Chairs</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4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62951">
                <a:tc>
                  <a:txBody>
                    <a:bodyPr/>
                    <a:lstStyle/>
                    <a:p>
                      <a:r>
                        <a:rPr lang="en-IN" sz="1400" dirty="0">
                          <a:solidFill>
                            <a:schemeClr val="tx2"/>
                          </a:solidFill>
                        </a:rPr>
                        <a:t>102</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Jane</a:t>
                      </a:r>
                      <a:r>
                        <a:rPr lang="en-IN" sz="1400" baseline="0" dirty="0">
                          <a:solidFill>
                            <a:schemeClr val="tx2"/>
                          </a:solidFill>
                        </a:rPr>
                        <a:t> Brown</a:t>
                      </a:r>
                      <a:endParaRPr lang="en-IN" sz="1400" dirty="0">
                        <a:solidFill>
                          <a:schemeClr val="tx2"/>
                        </a:solidFill>
                      </a:endParaRP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Atlanta, GA</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Lamps</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2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3"/>
                  </a:ext>
                </a:extLst>
              </a:tr>
              <a:tr h="262951">
                <a:tc>
                  <a:txBody>
                    <a:bodyPr/>
                    <a:lstStyle/>
                    <a:p>
                      <a:r>
                        <a:rPr lang="en-IN" sz="1400" dirty="0">
                          <a:solidFill>
                            <a:schemeClr val="tx2"/>
                          </a:solidFill>
                        </a:rPr>
                        <a:t>103</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Bill Green</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Pittsburgh,</a:t>
                      </a:r>
                      <a:r>
                        <a:rPr lang="en-IN" sz="1400" baseline="0" dirty="0">
                          <a:solidFill>
                            <a:schemeClr val="tx2"/>
                          </a:solidFill>
                        </a:rPr>
                        <a:t> PA</a:t>
                      </a:r>
                      <a:endParaRPr lang="en-IN" sz="1400" dirty="0">
                        <a:solidFill>
                          <a:schemeClr val="tx2"/>
                        </a:solidFill>
                      </a:endParaRP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Desk</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5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62951">
                <a:tc>
                  <a:txBody>
                    <a:bodyPr/>
                    <a:lstStyle/>
                    <a:p>
                      <a:r>
                        <a:rPr lang="en-IN" sz="1400" dirty="0">
                          <a:solidFill>
                            <a:schemeClr val="tx2"/>
                          </a:solidFill>
                        </a:rPr>
                        <a:t>104</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Jack Black</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St. Louis, MO</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Bed</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16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5"/>
                  </a:ext>
                </a:extLst>
              </a:tr>
            </a:tbl>
          </a:graphicData>
        </a:graphic>
      </p:graphicFrame>
      <p:sp>
        <p:nvSpPr>
          <p:cNvPr id="72" name="Rectangle 71"/>
          <p:cNvSpPr/>
          <p:nvPr/>
        </p:nvSpPr>
        <p:spPr bwMode="auto">
          <a:xfrm>
            <a:off x="7246570" y="1758293"/>
            <a:ext cx="2657886" cy="1640566"/>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5" name="Rectangle 74"/>
          <p:cNvSpPr/>
          <p:nvPr/>
        </p:nvSpPr>
        <p:spPr bwMode="auto">
          <a:xfrm>
            <a:off x="9963828" y="1758293"/>
            <a:ext cx="1870432" cy="1640566"/>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77" name="Elbow Connector 76"/>
          <p:cNvCxnSpPr/>
          <p:nvPr/>
        </p:nvCxnSpPr>
        <p:spPr>
          <a:xfrm rot="16200000" flipH="1">
            <a:off x="9765290" y="2255771"/>
            <a:ext cx="12450" cy="2323531"/>
          </a:xfrm>
          <a:prstGeom prst="bentConnector3">
            <a:avLst>
              <a:gd name="adj1" fmla="val 1824984"/>
            </a:avLst>
          </a:prstGeom>
          <a:noFill/>
          <a:ln w="19050">
            <a:solidFill>
              <a:schemeClr val="accent2"/>
            </a:solidFill>
            <a:headEnd type="triangle" w="lg" len="med"/>
            <a:tailEnd type="triangle" w="lg" len="med"/>
          </a:ln>
          <a:effectLst/>
        </p:spPr>
        <p:style>
          <a:lnRef idx="1">
            <a:schemeClr val="accent2"/>
          </a:lnRef>
          <a:fillRef idx="3">
            <a:schemeClr val="accent2"/>
          </a:fillRef>
          <a:effectRef idx="2">
            <a:schemeClr val="accent2"/>
          </a:effectRef>
          <a:fontRef idx="minor">
            <a:schemeClr val="lt1"/>
          </a:fontRef>
        </p:style>
      </p:cxnSp>
      <p:sp>
        <p:nvSpPr>
          <p:cNvPr id="70" name="TextBox 69"/>
          <p:cNvSpPr txBox="1"/>
          <p:nvPr/>
        </p:nvSpPr>
        <p:spPr>
          <a:xfrm>
            <a:off x="8895949" y="3500384"/>
            <a:ext cx="1751130" cy="248387"/>
          </a:xfrm>
          <a:prstGeom prst="rect">
            <a:avLst/>
          </a:prstGeom>
          <a:solidFill>
            <a:schemeClr val="bg1"/>
          </a:solid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lumn Families</a:t>
            </a:r>
          </a:p>
        </p:txBody>
      </p:sp>
      <p:sp>
        <p:nvSpPr>
          <p:cNvPr id="3" name="Slide Number Placeholder 2"/>
          <p:cNvSpPr>
            <a:spLocks noGrp="1"/>
          </p:cNvSpPr>
          <p:nvPr>
            <p:ph type="sldNum" sz="quarter" idx="11"/>
          </p:nvPr>
        </p:nvSpPr>
        <p:spPr>
          <a:xfrm>
            <a:off x="11226526" y="6818465"/>
            <a:ext cx="555597" cy="133860"/>
          </a:xfrm>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0</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extBox 3"/>
          <p:cNvSpPr txBox="1"/>
          <p:nvPr/>
        </p:nvSpPr>
        <p:spPr>
          <a:xfrm>
            <a:off x="95283" y="1214321"/>
            <a:ext cx="5799578" cy="4939887"/>
          </a:xfrm>
          <a:prstGeom prst="rect">
            <a:avLst/>
          </a:prstGeom>
          <a:noFill/>
        </p:spPr>
        <p:txBody>
          <a:bodyPr wrap="square" lIns="182880" tIns="146304" rIns="182880" bIns="146304" rtlCol="0">
            <a:noAutofit/>
          </a:bodyPr>
          <a:lstStyle/>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ables are logical collections of rows stored in multiple Regions. </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 row is identified by a </a:t>
            </a:r>
            <a:r>
              <a:rPr kumimoji="0" lang="en-US" sz="1600" b="0" i="1" u="none" strike="noStrike" kern="1200" cap="none" spc="0" normalizeH="0" baseline="0" noProof="0" dirty="0" err="1">
                <a:ln>
                  <a:noFill/>
                </a:ln>
                <a:solidFill>
                  <a:srgbClr val="000000">
                    <a:lumMod val="65000"/>
                    <a:lumOff val="35000"/>
                  </a:srgbClr>
                </a:solidFill>
                <a:effectLst/>
                <a:uLnTx/>
                <a:uFillTx/>
                <a:latin typeface="Segoe UI"/>
                <a:ea typeface="+mn-ea"/>
                <a:cs typeface="+mn-cs"/>
              </a:rPr>
              <a:t>rowkey</a:t>
            </a: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Rowkeys</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re unique in a table.</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Column Families</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 Data in a row are grouped together as Column Families. Each Column Family has one more Columns. </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Columns</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 A Column is identified by a Column Qualifier that consists of the Column Family name concatenated with the Column name using a colon – example: </a:t>
            </a: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lumnfamily:columnname</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Rows within a table can have varied number of Columns or </a:t>
            </a: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missing columns </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parse tables)</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Cell</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 A Cell stores data and is essentially a unique combination of </a:t>
            </a:r>
            <a:r>
              <a:rPr kumimoji="0" lang="en-US" sz="1600" b="0" i="1" u="none" strike="noStrike" kern="1200" cap="none" spc="0" normalizeH="0" baseline="0" noProof="0" dirty="0" err="1">
                <a:ln>
                  <a:noFill/>
                </a:ln>
                <a:solidFill>
                  <a:srgbClr val="000000">
                    <a:lumMod val="65000"/>
                    <a:lumOff val="35000"/>
                  </a:srgbClr>
                </a:solidFill>
                <a:effectLst/>
                <a:uLnTx/>
                <a:uFillTx/>
                <a:latin typeface="Segoe UI"/>
                <a:ea typeface="+mn-ea"/>
                <a:cs typeface="+mn-cs"/>
              </a:rPr>
              <a:t>rowkey</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Column Family and the Column.</a:t>
            </a:r>
          </a:p>
        </p:txBody>
      </p:sp>
      <p:sp>
        <p:nvSpPr>
          <p:cNvPr id="41" name="TextBox 40"/>
          <p:cNvSpPr txBox="1"/>
          <p:nvPr/>
        </p:nvSpPr>
        <p:spPr>
          <a:xfrm>
            <a:off x="5974669" y="4321660"/>
            <a:ext cx="6116045" cy="1420772"/>
          </a:xfrm>
          <a:prstGeom prst="rect">
            <a:avLst/>
          </a:prstGeom>
          <a:noFill/>
          <a:ln>
            <a:solidFill>
              <a:schemeClr val="accent4"/>
            </a:solidFill>
          </a:ln>
        </p:spPr>
        <p:txBody>
          <a:bodyPr wrap="square" lIns="182880" tIns="146304" rIns="182880" bIns="146304" rtlCol="0">
            <a:noAutofit/>
          </a:bodyPr>
          <a:lstStyle/>
          <a:p>
            <a:pPr marL="285750" marR="0" lvl="0" indent="-285750" algn="l" defTabSz="914400" rtl="0" eaLnBrk="1" fontAlgn="auto" latinLnBrk="0" hangingPunct="1">
              <a:lnSpc>
                <a:spcPts val="21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Customer Column Family is made up 2 columns – Name and City</a:t>
            </a:r>
          </a:p>
          <a:p>
            <a:pPr marL="285750" marR="0" lvl="0" indent="-285750" algn="l" defTabSz="914400" rtl="0" eaLnBrk="1" fontAlgn="auto" latinLnBrk="0" hangingPunct="1">
              <a:lnSpc>
                <a:spcPts val="21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ales Column Families is made up to 2 columns – Product and Amount.</a:t>
            </a:r>
          </a:p>
        </p:txBody>
      </p:sp>
      <p:sp>
        <p:nvSpPr>
          <p:cNvPr id="5" name="Rectangle 4"/>
          <p:cNvSpPr/>
          <p:nvPr/>
        </p:nvSpPr>
        <p:spPr bwMode="auto">
          <a:xfrm>
            <a:off x="5954233" y="1504667"/>
            <a:ext cx="6156916" cy="2283519"/>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7" name="Straight Arrow Connector 6"/>
          <p:cNvCxnSpPr>
            <a:stCxn id="41" idx="0"/>
            <a:endCxn id="5" idx="2"/>
          </p:cNvCxnSpPr>
          <p:nvPr/>
        </p:nvCxnSpPr>
        <p:spPr>
          <a:xfrm flipH="1" flipV="1">
            <a:off x="9032691" y="3788186"/>
            <a:ext cx="1" cy="53347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sp>
        <p:nvSpPr>
          <p:cNvPr id="13" name="Rectangle 12"/>
          <p:cNvSpPr/>
          <p:nvPr/>
        </p:nvSpPr>
        <p:spPr>
          <a:xfrm>
            <a:off x="6480325" y="1157819"/>
            <a:ext cx="5104731" cy="361637"/>
          </a:xfrm>
          <a:prstGeom prst="rect">
            <a:avLst/>
          </a:prstGeom>
        </p:spPr>
        <p:txBody>
          <a:bodyPr wrap="none">
            <a:spAutoFit/>
          </a:bodyPr>
          <a:lstStyle/>
          <a:p>
            <a:pPr marL="0" marR="0" lvl="0" indent="0" algn="l" defTabSz="914400" rtl="0" eaLnBrk="1" fontAlgn="auto" latinLnBrk="0" hangingPunct="1">
              <a:lnSpc>
                <a:spcPts val="2100"/>
              </a:lnSpc>
              <a:spcBef>
                <a:spcPts val="0"/>
              </a:spcBef>
              <a:spcAft>
                <a:spcPts val="600"/>
              </a:spcAft>
              <a:buClr>
                <a:srgbClr val="68217A"/>
              </a:buClr>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able with Customer and Sales Column Families. </a:t>
            </a:r>
          </a:p>
        </p:txBody>
      </p:sp>
    </p:spTree>
    <p:extLst>
      <p:ext uri="{BB962C8B-B14F-4D97-AF65-F5344CB8AC3E}">
        <p14:creationId xmlns:p14="http://schemas.microsoft.com/office/powerpoint/2010/main" val="2266425339"/>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Base: Key Components</a:t>
            </a:r>
          </a:p>
        </p:txBody>
      </p:sp>
      <p:sp>
        <p:nvSpPr>
          <p:cNvPr id="130" name="Slide Number Placeholder 129"/>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1</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Rectangle 11"/>
          <p:cNvSpPr/>
          <p:nvPr/>
        </p:nvSpPr>
        <p:spPr>
          <a:xfrm>
            <a:off x="316186" y="1361378"/>
            <a:ext cx="2742509" cy="4066241"/>
          </a:xfrm>
          <a:prstGeom prst="rect">
            <a:avLst/>
          </a:prstGeom>
        </p:spPr>
        <p:txBody>
          <a:bodyPr wrap="square">
            <a:spAutoFit/>
          </a:bodyPr>
          <a:lstStyle/>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Clients</a:t>
            </a: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Master</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Zookeeper</a:t>
            </a: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RegionServer</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Region</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Log</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MemStore</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StoreFile</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sp>
        <p:nvSpPr>
          <p:cNvPr id="2" name="TextBox 1"/>
          <p:cNvSpPr txBox="1"/>
          <p:nvPr/>
        </p:nvSpPr>
        <p:spPr>
          <a:xfrm>
            <a:off x="6626501" y="6017484"/>
            <a:ext cx="2998382" cy="420258"/>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D2D2D2">
                    <a:lumMod val="25000"/>
                  </a:srgbClr>
                </a:solidFill>
                <a:effectLst/>
                <a:uLnTx/>
                <a:uFillTx/>
                <a:latin typeface="Segoe UI"/>
                <a:ea typeface="+mn-ea"/>
                <a:cs typeface="+mn-cs"/>
              </a:rPr>
              <a:t>HFiles</a:t>
            </a:r>
            <a:r>
              <a:rPr kumimoji="0" lang="en-US" sz="1400" b="0" i="0" u="none" strike="noStrike" kern="1200" cap="none" spc="0" normalizeH="0" baseline="0" noProof="0" dirty="0">
                <a:ln>
                  <a:noFill/>
                </a:ln>
                <a:solidFill>
                  <a:srgbClr val="D2D2D2">
                    <a:lumMod val="25000"/>
                  </a:srgbClr>
                </a:solidFill>
                <a:effectLst/>
                <a:uLnTx/>
                <a:uFillTx/>
                <a:latin typeface="Segoe UI"/>
                <a:ea typeface="+mn-ea"/>
                <a:cs typeface="+mn-cs"/>
              </a:rPr>
              <a:t> and </a:t>
            </a:r>
            <a:r>
              <a:rPr kumimoji="0" lang="en-US" sz="1400" b="0" i="0" u="none" strike="noStrike" kern="1200" cap="none" spc="0" normalizeH="0" baseline="0" noProof="0" dirty="0" err="1">
                <a:ln>
                  <a:noFill/>
                </a:ln>
                <a:solidFill>
                  <a:srgbClr val="D2D2D2">
                    <a:lumMod val="25000"/>
                  </a:srgbClr>
                </a:solidFill>
                <a:effectLst/>
                <a:uLnTx/>
                <a:uFillTx/>
                <a:latin typeface="Segoe UI"/>
                <a:ea typeface="+mn-ea"/>
                <a:cs typeface="+mn-cs"/>
              </a:rPr>
              <a:t>HLogs</a:t>
            </a:r>
            <a:r>
              <a:rPr kumimoji="0" lang="en-US" sz="1400" b="0" i="0" u="none" strike="noStrike" kern="1200" cap="none" spc="0" normalizeH="0" baseline="0" noProof="0" dirty="0">
                <a:ln>
                  <a:noFill/>
                </a:ln>
                <a:solidFill>
                  <a:srgbClr val="D2D2D2">
                    <a:lumMod val="25000"/>
                  </a:srgbClr>
                </a:solidFill>
                <a:effectLst/>
                <a:uLnTx/>
                <a:uFillTx/>
                <a:latin typeface="Segoe UI"/>
                <a:ea typeface="+mn-ea"/>
                <a:cs typeface="+mn-cs"/>
              </a:rPr>
              <a:t> are stored in HDFS</a:t>
            </a:r>
          </a:p>
        </p:txBody>
      </p:sp>
      <p:grpSp>
        <p:nvGrpSpPr>
          <p:cNvPr id="9" name="Group 8"/>
          <p:cNvGrpSpPr/>
          <p:nvPr/>
        </p:nvGrpSpPr>
        <p:grpSpPr>
          <a:xfrm>
            <a:off x="3613980" y="1269344"/>
            <a:ext cx="8308470" cy="4787755"/>
            <a:chOff x="4057607" y="1201239"/>
            <a:chExt cx="8308470" cy="4787755"/>
          </a:xfrm>
        </p:grpSpPr>
        <p:sp>
          <p:nvSpPr>
            <p:cNvPr id="10" name="Rectangle 9"/>
            <p:cNvSpPr/>
            <p:nvPr/>
          </p:nvSpPr>
          <p:spPr bwMode="auto">
            <a:xfrm>
              <a:off x="4057607" y="1201239"/>
              <a:ext cx="8308470" cy="4787755"/>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ounded Rectangle 10"/>
            <p:cNvSpPr/>
            <p:nvPr/>
          </p:nvSpPr>
          <p:spPr bwMode="auto">
            <a:xfrm>
              <a:off x="4135435" y="2816533"/>
              <a:ext cx="877078" cy="1418253"/>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ounded Rectangle 12"/>
            <p:cNvSpPr/>
            <p:nvPr/>
          </p:nvSpPr>
          <p:spPr bwMode="auto">
            <a:xfrm>
              <a:off x="5766516" y="1369271"/>
              <a:ext cx="867747" cy="44595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Rounded Rectangle 13"/>
            <p:cNvSpPr/>
            <p:nvPr/>
          </p:nvSpPr>
          <p:spPr bwMode="auto">
            <a:xfrm>
              <a:off x="7503869" y="1436893"/>
              <a:ext cx="905325" cy="877077"/>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Rounded Rectangle 14"/>
            <p:cNvSpPr/>
            <p:nvPr/>
          </p:nvSpPr>
          <p:spPr bwMode="auto">
            <a:xfrm>
              <a:off x="7503869" y="2538966"/>
              <a:ext cx="905325" cy="862930"/>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 name="Rounded Rectangle 15"/>
            <p:cNvSpPr/>
            <p:nvPr/>
          </p:nvSpPr>
          <p:spPr bwMode="auto">
            <a:xfrm>
              <a:off x="7503869" y="3722230"/>
              <a:ext cx="905325" cy="843278"/>
            </a:xfrm>
            <a:prstGeom prst="roundRect">
              <a:avLst/>
            </a:prstGeom>
            <a:solidFill>
              <a:srgbClr val="FFBA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 name="Rounded Rectangle 16"/>
            <p:cNvSpPr/>
            <p:nvPr/>
          </p:nvSpPr>
          <p:spPr bwMode="auto">
            <a:xfrm>
              <a:off x="7503869" y="4784660"/>
              <a:ext cx="3688006" cy="965187"/>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8" name="Rounded Rectangle 17"/>
            <p:cNvSpPr/>
            <p:nvPr/>
          </p:nvSpPr>
          <p:spPr bwMode="auto">
            <a:xfrm>
              <a:off x="9469474" y="2542781"/>
              <a:ext cx="2592068" cy="855300"/>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 name="Rounded Rectangle 18"/>
            <p:cNvSpPr/>
            <p:nvPr/>
          </p:nvSpPr>
          <p:spPr bwMode="auto">
            <a:xfrm>
              <a:off x="5858550" y="4579903"/>
              <a:ext cx="664557" cy="457200"/>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0" name="Rounded Rectangle 19"/>
            <p:cNvSpPr/>
            <p:nvPr/>
          </p:nvSpPr>
          <p:spPr bwMode="auto">
            <a:xfrm>
              <a:off x="5868110" y="5156412"/>
              <a:ext cx="664557" cy="457200"/>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1" name="TextBox 20"/>
            <p:cNvSpPr txBox="1"/>
            <p:nvPr/>
          </p:nvSpPr>
          <p:spPr>
            <a:xfrm>
              <a:off x="5926569" y="4574255"/>
              <a:ext cx="404647" cy="487000"/>
            </a:xfrm>
            <a:prstGeom prst="rect">
              <a:avLst/>
            </a:prstGeom>
            <a:noFill/>
          </p:spPr>
          <p:txBody>
            <a:bodyPr wrap="none" lIns="91440" tIns="0" rIns="0" bIns="0" rtlCol="0" anchor="ctr">
              <a:noAutofit/>
            </a:bodyPr>
            <a:lstStyle/>
            <a:p>
              <a:pPr marL="0" marR="0" lvl="0" indent="0" algn="l"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Log</a:t>
              </a:r>
            </a:p>
            <a:p>
              <a:pPr marL="0" marR="0" lvl="0" indent="0" algn="l"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Flusher</a:t>
              </a:r>
            </a:p>
          </p:txBody>
        </p:sp>
        <p:sp>
          <p:nvSpPr>
            <p:cNvPr id="22" name="TextBox 21"/>
            <p:cNvSpPr txBox="1"/>
            <p:nvPr/>
          </p:nvSpPr>
          <p:spPr>
            <a:xfrm>
              <a:off x="5897621" y="5141512"/>
              <a:ext cx="605534" cy="48700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Log</a:t>
              </a: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Roller</a:t>
              </a:r>
            </a:p>
          </p:txBody>
        </p:sp>
        <p:sp>
          <p:nvSpPr>
            <p:cNvPr id="23" name="TextBox 22"/>
            <p:cNvSpPr txBox="1"/>
            <p:nvPr/>
          </p:nvSpPr>
          <p:spPr>
            <a:xfrm>
              <a:off x="4057607" y="2816533"/>
              <a:ext cx="914400" cy="875523"/>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Client </a:t>
              </a: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182880" marR="0" lvl="0" indent="-182880" algn="l" defTabSz="914400" rtl="0" eaLnBrk="1" fontAlgn="auto" latinLnBrk="0" hangingPunct="1">
                <a:lnSpc>
                  <a:spcPct val="50000"/>
                </a:lnSpc>
                <a:spcBef>
                  <a:spcPts val="0"/>
                </a:spcBef>
                <a:spcAft>
                  <a:spcPts val="600"/>
                </a:spcAft>
                <a:buClrTx/>
                <a:buSzTx/>
                <a:buFontTx/>
                <a:buChar char="-"/>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put()</a:t>
              </a:r>
            </a:p>
            <a:p>
              <a:pPr marL="91440" marR="0" lvl="0" indent="-182880" algn="l" defTabSz="914400" rtl="0" eaLnBrk="1" fontAlgn="auto" latinLnBrk="0" hangingPunct="1">
                <a:lnSpc>
                  <a:spcPct val="50000"/>
                </a:lnSpc>
                <a:spcBef>
                  <a:spcPts val="0"/>
                </a:spcBef>
                <a:spcAft>
                  <a:spcPts val="600"/>
                </a:spcAft>
                <a:buClrTx/>
                <a:buSzTx/>
                <a:buFontTx/>
                <a:buChar char="-"/>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delete()</a:t>
              </a:r>
            </a:p>
            <a:p>
              <a:pPr marL="91440" marR="0" lvl="0" indent="-182880" algn="l" defTabSz="914400" rtl="0" eaLnBrk="1" fontAlgn="auto" latinLnBrk="0" hangingPunct="1">
                <a:lnSpc>
                  <a:spcPct val="50000"/>
                </a:lnSpc>
                <a:spcBef>
                  <a:spcPts val="0"/>
                </a:spcBef>
                <a:spcAft>
                  <a:spcPts val="600"/>
                </a:spcAft>
                <a:buClrTx/>
                <a:buSzTx/>
                <a:buFontTx/>
                <a:buChar char="-"/>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incr</a:t>
              </a: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t>
              </a:r>
            </a:p>
          </p:txBody>
        </p:sp>
        <p:pic>
          <p:nvPicPr>
            <p:cNvPr id="24" name="Picture 2" descr="http://1.bp.blogspot.com/_Cib_A77V54U/S2M98DazIVI/AAAAAAAAAFw/cmp0W38kWGY/s1600/wal-flow.png"/>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l="4184" t="43995" r="89884" b="54061"/>
            <a:stretch/>
          </p:blipFill>
          <p:spPr bwMode="auto">
            <a:xfrm>
              <a:off x="4241647" y="3326841"/>
              <a:ext cx="622590" cy="117470"/>
            </a:xfrm>
            <a:prstGeom prst="rect">
              <a:avLst/>
            </a:prstGeom>
            <a:solidFill>
              <a:schemeClr val="accent2">
                <a:lumMod val="75000"/>
              </a:schemeClr>
            </a:solidFill>
            <a:ln>
              <a:solidFill>
                <a:schemeClr val="tx2"/>
              </a:solidFill>
            </a:ln>
          </p:spPr>
        </p:pic>
        <p:sp>
          <p:nvSpPr>
            <p:cNvPr id="25" name="TextBox 24"/>
            <p:cNvSpPr txBox="1"/>
            <p:nvPr/>
          </p:nvSpPr>
          <p:spPr>
            <a:xfrm rot="16200000">
              <a:off x="5921673" y="3372717"/>
              <a:ext cx="914400" cy="914400"/>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HRegionServer</a:t>
              </a:r>
              <a:r>
                <a:rPr kumimoji="0" lang="en-US" sz="1400" b="0" i="0" u="none" strike="noStrike" kern="1200" cap="none" spc="0" normalizeH="0" baseline="0" noProof="0" dirty="0">
                  <a:ln>
                    <a:noFill/>
                  </a:ln>
                  <a:solidFill>
                    <a:srgbClr val="FFFFFF"/>
                  </a:solidFill>
                  <a:effectLst/>
                  <a:uLnTx/>
                  <a:uFillTx/>
                  <a:latin typeface="Segoe UI"/>
                  <a:ea typeface="+mn-ea"/>
                  <a:cs typeface="+mn-cs"/>
                </a:rPr>
                <a:t> </a:t>
              </a:r>
            </a:p>
          </p:txBody>
        </p:sp>
        <p:cxnSp>
          <p:nvCxnSpPr>
            <p:cNvPr id="26" name="Straight Connector 25"/>
            <p:cNvCxnSpPr/>
            <p:nvPr/>
          </p:nvCxnSpPr>
          <p:spPr>
            <a:xfrm>
              <a:off x="5354612" y="1280322"/>
              <a:ext cx="49236" cy="4708672"/>
            </a:xfrm>
            <a:prstGeom prst="line">
              <a:avLst/>
            </a:prstGeom>
            <a:ln w="19050">
              <a:solidFill>
                <a:srgbClr val="82CAFF"/>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5049522" y="3223982"/>
              <a:ext cx="684321" cy="549066"/>
              <a:chOff x="5049522" y="3223982"/>
              <a:chExt cx="684321" cy="549066"/>
            </a:xfrm>
          </p:grpSpPr>
          <p:sp>
            <p:nvSpPr>
              <p:cNvPr id="132" name="Right Arrow 131"/>
              <p:cNvSpPr/>
              <p:nvPr/>
            </p:nvSpPr>
            <p:spPr bwMode="auto">
              <a:xfrm>
                <a:off x="5049522" y="3223982"/>
                <a:ext cx="68432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3" name="Rectangle 132"/>
              <p:cNvSpPr/>
              <p:nvPr/>
            </p:nvSpPr>
            <p:spPr bwMode="auto">
              <a:xfrm>
                <a:off x="5486351" y="3442782"/>
                <a:ext cx="98472" cy="113835"/>
              </a:xfrm>
              <a:prstGeom prst="rect">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4" name="Rectangle 133"/>
              <p:cNvSpPr/>
              <p:nvPr/>
            </p:nvSpPr>
            <p:spPr bwMode="auto">
              <a:xfrm>
                <a:off x="5114876" y="3442782"/>
                <a:ext cx="98472" cy="113835"/>
              </a:xfrm>
              <a:prstGeom prst="rect">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5" name="Rectangle 134"/>
              <p:cNvSpPr/>
              <p:nvPr/>
            </p:nvSpPr>
            <p:spPr bwMode="auto">
              <a:xfrm>
                <a:off x="5305376" y="3442782"/>
                <a:ext cx="98472" cy="113835"/>
              </a:xfrm>
              <a:prstGeom prst="rect">
                <a:avLst/>
              </a:prstGeom>
              <a:solidFill>
                <a:srgbClr val="4D828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8" name="Group 27"/>
            <p:cNvGrpSpPr/>
            <p:nvPr/>
          </p:nvGrpSpPr>
          <p:grpSpPr>
            <a:xfrm>
              <a:off x="6720277" y="1600898"/>
              <a:ext cx="734651" cy="2817504"/>
              <a:chOff x="6720277" y="1600898"/>
              <a:chExt cx="734651" cy="2817504"/>
            </a:xfrm>
          </p:grpSpPr>
          <p:grpSp>
            <p:nvGrpSpPr>
              <p:cNvPr id="116" name="Group 115"/>
              <p:cNvGrpSpPr/>
              <p:nvPr/>
            </p:nvGrpSpPr>
            <p:grpSpPr>
              <a:xfrm>
                <a:off x="6720277" y="1600898"/>
                <a:ext cx="734651" cy="549066"/>
                <a:chOff x="4999192" y="3171818"/>
                <a:chExt cx="734651" cy="549066"/>
              </a:xfrm>
            </p:grpSpPr>
            <p:sp>
              <p:nvSpPr>
                <p:cNvPr id="127" name="Right Arrow 126"/>
                <p:cNvSpPr/>
                <p:nvPr/>
              </p:nvSpPr>
              <p:spPr bwMode="auto">
                <a:xfrm>
                  <a:off x="4999192" y="3171818"/>
                  <a:ext cx="73465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8" name="Rectangle 127"/>
                <p:cNvSpPr/>
                <p:nvPr/>
              </p:nvSpPr>
              <p:spPr bwMode="auto">
                <a:xfrm>
                  <a:off x="5486351" y="3389434"/>
                  <a:ext cx="98472" cy="1138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9" name="Rectangle 128"/>
                <p:cNvSpPr/>
                <p:nvPr/>
              </p:nvSpPr>
              <p:spPr bwMode="auto">
                <a:xfrm>
                  <a:off x="5114876" y="3389434"/>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1" name="Rectangle 130"/>
                <p:cNvSpPr/>
                <p:nvPr/>
              </p:nvSpPr>
              <p:spPr bwMode="auto">
                <a:xfrm>
                  <a:off x="5305376" y="3389434"/>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17" name="Group 116"/>
              <p:cNvGrpSpPr/>
              <p:nvPr/>
            </p:nvGrpSpPr>
            <p:grpSpPr>
              <a:xfrm>
                <a:off x="6733536" y="2695898"/>
                <a:ext cx="684321" cy="549066"/>
                <a:chOff x="5049522" y="3184460"/>
                <a:chExt cx="684321" cy="549066"/>
              </a:xfrm>
            </p:grpSpPr>
            <p:sp>
              <p:nvSpPr>
                <p:cNvPr id="123" name="Right Arrow 122"/>
                <p:cNvSpPr/>
                <p:nvPr/>
              </p:nvSpPr>
              <p:spPr bwMode="auto">
                <a:xfrm>
                  <a:off x="5049522" y="3184460"/>
                  <a:ext cx="68432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4" name="Rectangle 123"/>
                <p:cNvSpPr/>
                <p:nvPr/>
              </p:nvSpPr>
              <p:spPr bwMode="auto">
                <a:xfrm>
                  <a:off x="5486351"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5" name="Rectangle 124"/>
                <p:cNvSpPr/>
                <p:nvPr/>
              </p:nvSpPr>
              <p:spPr bwMode="auto">
                <a:xfrm>
                  <a:off x="5114876"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6" name="Rectangle 125"/>
                <p:cNvSpPr/>
                <p:nvPr/>
              </p:nvSpPr>
              <p:spPr bwMode="auto">
                <a:xfrm>
                  <a:off x="5305376"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18" name="Group 117"/>
              <p:cNvGrpSpPr/>
              <p:nvPr/>
            </p:nvGrpSpPr>
            <p:grpSpPr>
              <a:xfrm>
                <a:off x="6730099" y="3869336"/>
                <a:ext cx="705256" cy="549066"/>
                <a:chOff x="5028588" y="3196792"/>
                <a:chExt cx="705256" cy="549066"/>
              </a:xfrm>
            </p:grpSpPr>
            <p:sp>
              <p:nvSpPr>
                <p:cNvPr id="119" name="Right Arrow 118"/>
                <p:cNvSpPr/>
                <p:nvPr/>
              </p:nvSpPr>
              <p:spPr bwMode="auto">
                <a:xfrm>
                  <a:off x="5028588" y="3196792"/>
                  <a:ext cx="705256"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Rectangle 119"/>
                <p:cNvSpPr/>
                <p:nvPr/>
              </p:nvSpPr>
              <p:spPr bwMode="auto">
                <a:xfrm>
                  <a:off x="5486351"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1" name="Rectangle 120"/>
                <p:cNvSpPr/>
                <p:nvPr/>
              </p:nvSpPr>
              <p:spPr bwMode="auto">
                <a:xfrm>
                  <a:off x="5114876"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2" name="Rectangle 121"/>
                <p:cNvSpPr/>
                <p:nvPr/>
              </p:nvSpPr>
              <p:spPr bwMode="auto">
                <a:xfrm>
                  <a:off x="5305376"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sp>
          <p:nvSpPr>
            <p:cNvPr id="29" name="Down Arrow 28"/>
            <p:cNvSpPr/>
            <p:nvPr/>
          </p:nvSpPr>
          <p:spPr bwMode="auto">
            <a:xfrm>
              <a:off x="8635783" y="1987372"/>
              <a:ext cx="390198" cy="2833750"/>
            </a:xfrm>
            <a:prstGeom prst="downArrow">
              <a:avLst/>
            </a:prstGeom>
            <a:solidFill>
              <a:srgbClr val="FFBA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 name="Group 29"/>
            <p:cNvGrpSpPr/>
            <p:nvPr/>
          </p:nvGrpSpPr>
          <p:grpSpPr>
            <a:xfrm>
              <a:off x="8495206" y="1600898"/>
              <a:ext cx="880582" cy="2817504"/>
              <a:chOff x="6630247" y="1594880"/>
              <a:chExt cx="880582" cy="2817504"/>
            </a:xfrm>
          </p:grpSpPr>
          <p:grpSp>
            <p:nvGrpSpPr>
              <p:cNvPr id="101" name="Group 100"/>
              <p:cNvGrpSpPr/>
              <p:nvPr/>
            </p:nvGrpSpPr>
            <p:grpSpPr>
              <a:xfrm>
                <a:off x="6630249" y="1594880"/>
                <a:ext cx="880580" cy="549066"/>
                <a:chOff x="4909164" y="3165800"/>
                <a:chExt cx="880580" cy="549066"/>
              </a:xfrm>
            </p:grpSpPr>
            <p:sp>
              <p:nvSpPr>
                <p:cNvPr id="112" name="Right Arrow 111"/>
                <p:cNvSpPr/>
                <p:nvPr/>
              </p:nvSpPr>
              <p:spPr bwMode="auto">
                <a:xfrm>
                  <a:off x="4909164" y="3165800"/>
                  <a:ext cx="880580"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3" name="Rectangle 112"/>
                <p:cNvSpPr/>
                <p:nvPr/>
              </p:nvSpPr>
              <p:spPr bwMode="auto">
                <a:xfrm>
                  <a:off x="5375182" y="3383416"/>
                  <a:ext cx="98472" cy="1138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4" name="Rectangle 113"/>
                <p:cNvSpPr/>
                <p:nvPr/>
              </p:nvSpPr>
              <p:spPr bwMode="auto">
                <a:xfrm>
                  <a:off x="5003707" y="3383416"/>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5" name="Rectangle 114"/>
                <p:cNvSpPr/>
                <p:nvPr/>
              </p:nvSpPr>
              <p:spPr bwMode="auto">
                <a:xfrm>
                  <a:off x="5194207" y="3383416"/>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02" name="Group 101"/>
              <p:cNvGrpSpPr/>
              <p:nvPr/>
            </p:nvGrpSpPr>
            <p:grpSpPr>
              <a:xfrm>
                <a:off x="6630247" y="2689880"/>
                <a:ext cx="840997" cy="549066"/>
                <a:chOff x="4946233" y="3178442"/>
                <a:chExt cx="840997" cy="549066"/>
              </a:xfrm>
            </p:grpSpPr>
            <p:sp>
              <p:nvSpPr>
                <p:cNvPr id="108" name="Right Arrow 107"/>
                <p:cNvSpPr/>
                <p:nvPr/>
              </p:nvSpPr>
              <p:spPr bwMode="auto">
                <a:xfrm>
                  <a:off x="4946233" y="3178442"/>
                  <a:ext cx="840997"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9" name="Rectangle 108"/>
                <p:cNvSpPr/>
                <p:nvPr/>
              </p:nvSpPr>
              <p:spPr bwMode="auto">
                <a:xfrm>
                  <a:off x="5419955"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0" name="Rectangle 109"/>
                <p:cNvSpPr/>
                <p:nvPr/>
              </p:nvSpPr>
              <p:spPr bwMode="auto">
                <a:xfrm>
                  <a:off x="5048480"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1" name="Rectangle 110"/>
                <p:cNvSpPr/>
                <p:nvPr/>
              </p:nvSpPr>
              <p:spPr bwMode="auto">
                <a:xfrm>
                  <a:off x="5238980"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03" name="Group 102"/>
              <p:cNvGrpSpPr/>
              <p:nvPr/>
            </p:nvGrpSpPr>
            <p:grpSpPr>
              <a:xfrm>
                <a:off x="6630248" y="3863318"/>
                <a:ext cx="859679" cy="549066"/>
                <a:chOff x="4928737" y="3190774"/>
                <a:chExt cx="859679" cy="549066"/>
              </a:xfrm>
            </p:grpSpPr>
            <p:sp>
              <p:nvSpPr>
                <p:cNvPr id="104" name="Right Arrow 103"/>
                <p:cNvSpPr/>
                <p:nvPr/>
              </p:nvSpPr>
              <p:spPr bwMode="auto">
                <a:xfrm>
                  <a:off x="4928737" y="3190774"/>
                  <a:ext cx="859679"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5" name="Rectangle 104"/>
                <p:cNvSpPr/>
                <p:nvPr/>
              </p:nvSpPr>
              <p:spPr bwMode="auto">
                <a:xfrm>
                  <a:off x="5396805"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6" name="Rectangle 105"/>
                <p:cNvSpPr/>
                <p:nvPr/>
              </p:nvSpPr>
              <p:spPr bwMode="auto">
                <a:xfrm>
                  <a:off x="5025330"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7" name="Rectangle 106"/>
                <p:cNvSpPr/>
                <p:nvPr/>
              </p:nvSpPr>
              <p:spPr bwMode="auto">
                <a:xfrm>
                  <a:off x="5215830"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1" name="Group 30"/>
            <p:cNvGrpSpPr/>
            <p:nvPr/>
          </p:nvGrpSpPr>
          <p:grpSpPr>
            <a:xfrm rot="16200000">
              <a:off x="8595691" y="2391801"/>
              <a:ext cx="469947" cy="113835"/>
              <a:chOff x="8853320" y="2030280"/>
              <a:chExt cx="469947" cy="113835"/>
            </a:xfrm>
          </p:grpSpPr>
          <p:sp>
            <p:nvSpPr>
              <p:cNvPr id="98" name="Rectangle 97"/>
              <p:cNvSpPr/>
              <p:nvPr/>
            </p:nvSpPr>
            <p:spPr bwMode="auto">
              <a:xfrm>
                <a:off x="9224795" y="2030280"/>
                <a:ext cx="98472" cy="113835"/>
              </a:xfrm>
              <a:prstGeom prst="rect">
                <a:avLst/>
              </a:prstGeom>
              <a:solidFill>
                <a:schemeClr val="accent4"/>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9" name="Rectangle 98"/>
              <p:cNvSpPr/>
              <p:nvPr/>
            </p:nvSpPr>
            <p:spPr bwMode="auto">
              <a:xfrm>
                <a:off x="8853320" y="2030280"/>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0" name="Rectangle 99"/>
              <p:cNvSpPr/>
              <p:nvPr/>
            </p:nvSpPr>
            <p:spPr bwMode="auto">
              <a:xfrm>
                <a:off x="9043820" y="2030280"/>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2" name="Group 31"/>
            <p:cNvGrpSpPr/>
            <p:nvPr/>
          </p:nvGrpSpPr>
          <p:grpSpPr>
            <a:xfrm rot="16200000">
              <a:off x="8597248" y="3502111"/>
              <a:ext cx="469947" cy="113835"/>
              <a:chOff x="8816249" y="3112638"/>
              <a:chExt cx="469947" cy="113835"/>
            </a:xfrm>
          </p:grpSpPr>
          <p:sp>
            <p:nvSpPr>
              <p:cNvPr id="95" name="Rectangle 94"/>
              <p:cNvSpPr/>
              <p:nvPr/>
            </p:nvSpPr>
            <p:spPr bwMode="auto">
              <a:xfrm>
                <a:off x="9187724" y="3112638"/>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6" name="Rectangle 95"/>
              <p:cNvSpPr/>
              <p:nvPr/>
            </p:nvSpPr>
            <p:spPr bwMode="auto">
              <a:xfrm>
                <a:off x="8816249" y="3112638"/>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7" name="Rectangle 96"/>
              <p:cNvSpPr/>
              <p:nvPr/>
            </p:nvSpPr>
            <p:spPr bwMode="auto">
              <a:xfrm>
                <a:off x="9006749" y="3112638"/>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 name="Group 32"/>
            <p:cNvGrpSpPr/>
            <p:nvPr/>
          </p:nvGrpSpPr>
          <p:grpSpPr>
            <a:xfrm rot="16200000">
              <a:off x="8690941" y="4445442"/>
              <a:ext cx="279447" cy="113835"/>
              <a:chOff x="9024246" y="4273744"/>
              <a:chExt cx="279447" cy="113835"/>
            </a:xfrm>
          </p:grpSpPr>
          <p:sp>
            <p:nvSpPr>
              <p:cNvPr id="93" name="Rectangle 92"/>
              <p:cNvSpPr/>
              <p:nvPr/>
            </p:nvSpPr>
            <p:spPr bwMode="auto">
              <a:xfrm>
                <a:off x="9205221" y="4273744"/>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4" name="Rectangle 93"/>
              <p:cNvSpPr/>
              <p:nvPr/>
            </p:nvSpPr>
            <p:spPr bwMode="auto">
              <a:xfrm>
                <a:off x="9024246" y="4273744"/>
                <a:ext cx="98472" cy="113835"/>
              </a:xfrm>
              <a:prstGeom prst="rect">
                <a:avLst/>
              </a:prstGeom>
              <a:solidFill>
                <a:srgbClr val="B957D2"/>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 name="Group 33"/>
            <p:cNvGrpSpPr/>
            <p:nvPr/>
          </p:nvGrpSpPr>
          <p:grpSpPr>
            <a:xfrm>
              <a:off x="9469474" y="1411557"/>
              <a:ext cx="2592068" cy="905875"/>
              <a:chOff x="9469474" y="1411557"/>
              <a:chExt cx="2592068" cy="905875"/>
            </a:xfrm>
          </p:grpSpPr>
          <p:sp>
            <p:nvSpPr>
              <p:cNvPr id="79" name="Rounded Rectangle 78"/>
              <p:cNvSpPr/>
              <p:nvPr/>
            </p:nvSpPr>
            <p:spPr bwMode="auto">
              <a:xfrm>
                <a:off x="9469474" y="1433431"/>
                <a:ext cx="2592068" cy="884001"/>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80" name="Group 79"/>
              <p:cNvGrpSpPr/>
              <p:nvPr/>
            </p:nvGrpSpPr>
            <p:grpSpPr>
              <a:xfrm>
                <a:off x="9546259" y="1411557"/>
                <a:ext cx="995546" cy="312955"/>
                <a:chOff x="9546259" y="1411557"/>
                <a:chExt cx="995546" cy="312955"/>
              </a:xfrm>
            </p:grpSpPr>
            <p:sp>
              <p:nvSpPr>
                <p:cNvPr id="91" name="Flowchart: Alternate Process 90"/>
                <p:cNvSpPr/>
                <p:nvPr/>
              </p:nvSpPr>
              <p:spPr bwMode="auto">
                <a:xfrm>
                  <a:off x="9546259" y="1527479"/>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TextBox 91"/>
                <p:cNvSpPr txBox="1"/>
                <p:nvPr/>
              </p:nvSpPr>
              <p:spPr>
                <a:xfrm>
                  <a:off x="9608398" y="1411557"/>
                  <a:ext cx="914400" cy="24925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MemStor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81" name="Group 80"/>
              <p:cNvGrpSpPr/>
              <p:nvPr/>
            </p:nvGrpSpPr>
            <p:grpSpPr>
              <a:xfrm>
                <a:off x="9565309" y="1679377"/>
                <a:ext cx="1072331" cy="609256"/>
                <a:chOff x="9565309" y="1679377"/>
                <a:chExt cx="1072331" cy="609256"/>
              </a:xfrm>
            </p:grpSpPr>
            <p:sp>
              <p:nvSpPr>
                <p:cNvPr id="87" name="Flowchart: Alternate Process 86"/>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8" name="TextBox 87"/>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89" name="Rectangle 88"/>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0" name="TextBox 89"/>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82" name="Group 81"/>
              <p:cNvGrpSpPr/>
              <p:nvPr/>
            </p:nvGrpSpPr>
            <p:grpSpPr>
              <a:xfrm>
                <a:off x="10623447" y="1679377"/>
                <a:ext cx="1072331" cy="609256"/>
                <a:chOff x="9565309" y="1679377"/>
                <a:chExt cx="1072331" cy="609256"/>
              </a:xfrm>
            </p:grpSpPr>
            <p:sp>
              <p:nvSpPr>
                <p:cNvPr id="83" name="Flowchart: Alternate Process 82"/>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4" name="TextBox 83"/>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85" name="Rectangle 84"/>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6" name="TextBox 85"/>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grpSp>
          <p:nvGrpSpPr>
            <p:cNvPr id="35" name="Group 34"/>
            <p:cNvGrpSpPr/>
            <p:nvPr/>
          </p:nvGrpSpPr>
          <p:grpSpPr>
            <a:xfrm>
              <a:off x="9644274" y="2688063"/>
              <a:ext cx="1072331" cy="609256"/>
              <a:chOff x="9565309" y="1679377"/>
              <a:chExt cx="1072331" cy="609256"/>
            </a:xfrm>
          </p:grpSpPr>
          <p:sp>
            <p:nvSpPr>
              <p:cNvPr id="75" name="Flowchart: Alternate Process 74"/>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6" name="TextBox 75"/>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77" name="Rectangle 76"/>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8" name="TextBox 77"/>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36" name="Group 35"/>
            <p:cNvGrpSpPr/>
            <p:nvPr/>
          </p:nvGrpSpPr>
          <p:grpSpPr>
            <a:xfrm>
              <a:off x="9450467" y="3668590"/>
              <a:ext cx="2592068" cy="917280"/>
              <a:chOff x="9469474" y="1411557"/>
              <a:chExt cx="2592068" cy="917280"/>
            </a:xfrm>
          </p:grpSpPr>
          <p:sp>
            <p:nvSpPr>
              <p:cNvPr id="61" name="Rounded Rectangle 60"/>
              <p:cNvSpPr/>
              <p:nvPr/>
            </p:nvSpPr>
            <p:spPr bwMode="auto">
              <a:xfrm>
                <a:off x="9469474" y="1444836"/>
                <a:ext cx="2592068" cy="884001"/>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62" name="Group 61"/>
              <p:cNvGrpSpPr/>
              <p:nvPr/>
            </p:nvGrpSpPr>
            <p:grpSpPr>
              <a:xfrm>
                <a:off x="9546259" y="1411557"/>
                <a:ext cx="995546" cy="312955"/>
                <a:chOff x="9546259" y="1411557"/>
                <a:chExt cx="995546" cy="312955"/>
              </a:xfrm>
            </p:grpSpPr>
            <p:sp>
              <p:nvSpPr>
                <p:cNvPr id="73" name="Flowchart: Alternate Process 72"/>
                <p:cNvSpPr/>
                <p:nvPr/>
              </p:nvSpPr>
              <p:spPr bwMode="auto">
                <a:xfrm>
                  <a:off x="9546259" y="1527479"/>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4" name="TextBox 73"/>
                <p:cNvSpPr txBox="1"/>
                <p:nvPr/>
              </p:nvSpPr>
              <p:spPr>
                <a:xfrm>
                  <a:off x="9627405" y="1411557"/>
                  <a:ext cx="914400" cy="24925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MemStor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63" name="Group 62"/>
              <p:cNvGrpSpPr/>
              <p:nvPr/>
            </p:nvGrpSpPr>
            <p:grpSpPr>
              <a:xfrm>
                <a:off x="9565309" y="1679377"/>
                <a:ext cx="1072331" cy="609256"/>
                <a:chOff x="9565309" y="1679377"/>
                <a:chExt cx="1072331" cy="609256"/>
              </a:xfrm>
            </p:grpSpPr>
            <p:sp>
              <p:nvSpPr>
                <p:cNvPr id="69" name="Flowchart: Alternate Process 68"/>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0" name="TextBox 69"/>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71" name="Rectangle 70"/>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2" name="TextBox 71"/>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64" name="Group 63"/>
              <p:cNvGrpSpPr/>
              <p:nvPr/>
            </p:nvGrpSpPr>
            <p:grpSpPr>
              <a:xfrm>
                <a:off x="10623447" y="1679377"/>
                <a:ext cx="1072331" cy="609256"/>
                <a:chOff x="9565309" y="1679377"/>
                <a:chExt cx="1072331" cy="609256"/>
              </a:xfrm>
            </p:grpSpPr>
            <p:sp>
              <p:nvSpPr>
                <p:cNvPr id="65" name="Flowchart: Alternate Process 64"/>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6" name="TextBox 65"/>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67" name="Rectangle 66"/>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8" name="TextBox 67"/>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sp>
          <p:nvSpPr>
            <p:cNvPr id="37" name="Flowchart: Alternate Process 36"/>
            <p:cNvSpPr/>
            <p:nvPr/>
          </p:nvSpPr>
          <p:spPr bwMode="auto">
            <a:xfrm>
              <a:off x="9623052" y="2555474"/>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 name="TextBox 37"/>
            <p:cNvSpPr txBox="1"/>
            <p:nvPr/>
          </p:nvSpPr>
          <p:spPr>
            <a:xfrm>
              <a:off x="9608398" y="2474277"/>
              <a:ext cx="914400" cy="24925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MemStor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39" name="TextBox 38"/>
            <p:cNvSpPr txBox="1"/>
            <p:nvPr/>
          </p:nvSpPr>
          <p:spPr>
            <a:xfrm>
              <a:off x="11580936" y="1343606"/>
              <a:ext cx="423001" cy="30281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Store</a:t>
              </a:r>
            </a:p>
          </p:txBody>
        </p:sp>
        <p:sp>
          <p:nvSpPr>
            <p:cNvPr id="40" name="TextBox 39"/>
            <p:cNvSpPr txBox="1"/>
            <p:nvPr/>
          </p:nvSpPr>
          <p:spPr>
            <a:xfrm>
              <a:off x="11580936" y="2449689"/>
              <a:ext cx="423001" cy="30281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Store</a:t>
              </a:r>
            </a:p>
          </p:txBody>
        </p:sp>
        <p:sp>
          <p:nvSpPr>
            <p:cNvPr id="41" name="TextBox 40"/>
            <p:cNvSpPr txBox="1"/>
            <p:nvPr/>
          </p:nvSpPr>
          <p:spPr>
            <a:xfrm>
              <a:off x="11580936" y="3641810"/>
              <a:ext cx="423001" cy="30281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Store</a:t>
              </a:r>
            </a:p>
          </p:txBody>
        </p:sp>
        <p:grpSp>
          <p:nvGrpSpPr>
            <p:cNvPr id="42" name="Group 41"/>
            <p:cNvGrpSpPr/>
            <p:nvPr/>
          </p:nvGrpSpPr>
          <p:grpSpPr>
            <a:xfrm>
              <a:off x="11661290" y="1954955"/>
              <a:ext cx="299827" cy="75818"/>
              <a:chOff x="8251705" y="429863"/>
              <a:chExt cx="299827" cy="75818"/>
            </a:xfrm>
          </p:grpSpPr>
          <p:sp>
            <p:nvSpPr>
              <p:cNvPr id="58" name="Oval 57"/>
              <p:cNvSpPr/>
              <p:nvPr/>
            </p:nvSpPr>
            <p:spPr bwMode="auto">
              <a:xfrm flipV="1">
                <a:off x="8251705"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9" name="Oval 58"/>
              <p:cNvSpPr/>
              <p:nvPr/>
            </p:nvSpPr>
            <p:spPr bwMode="auto">
              <a:xfrm flipV="1">
                <a:off x="8362328"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0" name="Oval 59"/>
              <p:cNvSpPr/>
              <p:nvPr/>
            </p:nvSpPr>
            <p:spPr bwMode="auto">
              <a:xfrm flipV="1">
                <a:off x="8475714"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3" name="Group 42"/>
            <p:cNvGrpSpPr/>
            <p:nvPr/>
          </p:nvGrpSpPr>
          <p:grpSpPr>
            <a:xfrm>
              <a:off x="11640712" y="4249208"/>
              <a:ext cx="299827" cy="75818"/>
              <a:chOff x="8251705" y="429863"/>
              <a:chExt cx="299827" cy="75818"/>
            </a:xfrm>
          </p:grpSpPr>
          <p:sp>
            <p:nvSpPr>
              <p:cNvPr id="55" name="Oval 54"/>
              <p:cNvSpPr/>
              <p:nvPr/>
            </p:nvSpPr>
            <p:spPr bwMode="auto">
              <a:xfrm flipV="1">
                <a:off x="8251705"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6" name="Oval 55"/>
              <p:cNvSpPr/>
              <p:nvPr/>
            </p:nvSpPr>
            <p:spPr bwMode="auto">
              <a:xfrm flipV="1">
                <a:off x="8362328"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7" name="Oval 56"/>
              <p:cNvSpPr/>
              <p:nvPr/>
            </p:nvSpPr>
            <p:spPr bwMode="auto">
              <a:xfrm flipV="1">
                <a:off x="8475714"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4" name="TextBox 43"/>
            <p:cNvSpPr txBox="1"/>
            <p:nvPr/>
          </p:nvSpPr>
          <p:spPr>
            <a:xfrm>
              <a:off x="7489048" y="2799144"/>
              <a:ext cx="914400" cy="498175"/>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Region</a:t>
              </a:r>
              <a:endParaRPr kumimoji="0" lang="en-US" sz="12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45" name="TextBox 44"/>
            <p:cNvSpPr txBox="1"/>
            <p:nvPr/>
          </p:nvSpPr>
          <p:spPr>
            <a:xfrm>
              <a:off x="7527868" y="1647466"/>
              <a:ext cx="914400" cy="498175"/>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Segoe UI"/>
                  <a:ea typeface="+mn-ea"/>
                  <a:cs typeface="+mn-cs"/>
                </a:rPr>
                <a:t>HRegion</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6" name="TextBox 45"/>
            <p:cNvSpPr txBox="1"/>
            <p:nvPr/>
          </p:nvSpPr>
          <p:spPr>
            <a:xfrm>
              <a:off x="7508323" y="3896526"/>
              <a:ext cx="914400" cy="498175"/>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Segoe UI"/>
                  <a:ea typeface="+mn-ea"/>
                  <a:cs typeface="+mn-cs"/>
                </a:rPr>
                <a:t>HRegion</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TextBox 46"/>
            <p:cNvSpPr txBox="1"/>
            <p:nvPr/>
          </p:nvSpPr>
          <p:spPr>
            <a:xfrm>
              <a:off x="5027728" y="3754065"/>
              <a:ext cx="707036" cy="237783"/>
            </a:xfrm>
            <a:prstGeom prst="rect">
              <a:avLst/>
            </a:prstGeom>
            <a:solidFill>
              <a:srgbClr val="92D050"/>
            </a:solid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KeyValue’s</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cxnSp>
          <p:nvCxnSpPr>
            <p:cNvPr id="48" name="Elbow Connector 47"/>
            <p:cNvCxnSpPr>
              <a:stCxn id="19" idx="3"/>
            </p:cNvCxnSpPr>
            <p:nvPr/>
          </p:nvCxnSpPr>
          <p:spPr>
            <a:xfrm>
              <a:off x="6523107" y="4808503"/>
              <a:ext cx="965941" cy="186132"/>
            </a:xfrm>
            <a:prstGeom prst="bentConnector3">
              <a:avLst>
                <a:gd name="adj1" fmla="val 1943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0" idx="3"/>
            </p:cNvCxnSpPr>
            <p:nvPr/>
          </p:nvCxnSpPr>
          <p:spPr>
            <a:xfrm>
              <a:off x="6532667" y="5385012"/>
              <a:ext cx="95638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783549" y="4742153"/>
              <a:ext cx="552450" cy="22724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sync()</a:t>
              </a:r>
            </a:p>
          </p:txBody>
        </p:sp>
        <p:sp>
          <p:nvSpPr>
            <p:cNvPr id="51" name="TextBox 50"/>
            <p:cNvSpPr txBox="1"/>
            <p:nvPr/>
          </p:nvSpPr>
          <p:spPr>
            <a:xfrm>
              <a:off x="6792841" y="5433850"/>
              <a:ext cx="552450" cy="22724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FFFFFF"/>
                  </a:solidFill>
                  <a:effectLst/>
                  <a:uLnTx/>
                  <a:uFillTx/>
                  <a:latin typeface="Segoe UI"/>
                  <a:ea typeface="+mn-ea"/>
                  <a:cs typeface="+mn-cs"/>
                </a:rPr>
                <a:t>rollWriter</a:t>
              </a:r>
              <a:r>
                <a:rPr kumimoji="0" lang="en-US" sz="1100" b="0" i="0" u="none" strike="noStrike" kern="1200" cap="none" spc="0" normalizeH="0" baseline="0" noProof="0" dirty="0">
                  <a:ln>
                    <a:noFill/>
                  </a:ln>
                  <a:solidFill>
                    <a:srgbClr val="FFFFFF"/>
                  </a:solidFill>
                  <a:effectLst/>
                  <a:uLnTx/>
                  <a:uFillTx/>
                  <a:latin typeface="Segoe UI"/>
                  <a:ea typeface="+mn-ea"/>
                  <a:cs typeface="+mn-cs"/>
                </a:rPr>
                <a:t>()</a:t>
              </a:r>
            </a:p>
          </p:txBody>
        </p:sp>
        <p:sp>
          <p:nvSpPr>
            <p:cNvPr id="52" name="TextBox 51"/>
            <p:cNvSpPr txBox="1"/>
            <p:nvPr/>
          </p:nvSpPr>
          <p:spPr>
            <a:xfrm>
              <a:off x="9055948" y="4827578"/>
              <a:ext cx="552450" cy="22724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FFFFFF"/>
                  </a:solidFill>
                  <a:effectLst/>
                  <a:uLnTx/>
                  <a:uFillTx/>
                  <a:latin typeface="Segoe UI"/>
                  <a:ea typeface="+mn-ea"/>
                  <a:cs typeface="+mn-cs"/>
                </a:rPr>
                <a:t>HLog</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3" name="Picture 52"/>
            <p:cNvPicPr>
              <a:picLocks noChangeAspect="1"/>
            </p:cNvPicPr>
            <p:nvPr/>
          </p:nvPicPr>
          <p:blipFill rotWithShape="1">
            <a:blip r:embed="rId5"/>
            <a:srcRect l="67769" t="87314" r="15707" b="9233"/>
            <a:stretch/>
          </p:blipFill>
          <p:spPr>
            <a:xfrm>
              <a:off x="9411701" y="5186620"/>
              <a:ext cx="1704389" cy="205863"/>
            </a:xfrm>
            <a:prstGeom prst="rect">
              <a:avLst/>
            </a:prstGeom>
            <a:ln>
              <a:solidFill>
                <a:schemeClr val="tx2">
                  <a:lumMod val="40000"/>
                  <a:lumOff val="60000"/>
                </a:schemeClr>
              </a:solidFill>
            </a:ln>
          </p:spPr>
        </p:pic>
        <p:pic>
          <p:nvPicPr>
            <p:cNvPr id="54" name="Picture 2" descr="http://1.bp.blogspot.com/_Cib_A77V54U/S2M98DazIVI/AAAAAAAAAFw/cmp0W38kWGY/s1600/wal-flow.png"/>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l="49272" t="87414" r="33974" b="9032"/>
            <a:stretch/>
          </p:blipFill>
          <p:spPr bwMode="auto">
            <a:xfrm>
              <a:off x="7573939" y="5180709"/>
              <a:ext cx="1714501" cy="209550"/>
            </a:xfrm>
            <a:prstGeom prst="rect">
              <a:avLst/>
            </a:prstGeom>
            <a:solidFill>
              <a:schemeClr val="accent2">
                <a:lumMod val="75000"/>
              </a:schemeClr>
            </a:solidFill>
            <a:ln>
              <a:solidFill>
                <a:schemeClr val="tx2"/>
              </a:solidFill>
            </a:ln>
          </p:spPr>
        </p:pic>
      </p:grpSp>
    </p:spTree>
    <p:extLst>
      <p:ext uri="{BB962C8B-B14F-4D97-AF65-F5344CB8AC3E}">
        <p14:creationId xmlns:p14="http://schemas.microsoft.com/office/powerpoint/2010/main" val="342338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Key Components: Overview</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2</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1" name="Group 40"/>
          <p:cNvGrpSpPr/>
          <p:nvPr/>
        </p:nvGrpSpPr>
        <p:grpSpPr>
          <a:xfrm>
            <a:off x="268673" y="1355204"/>
            <a:ext cx="11762536" cy="5096758"/>
            <a:chOff x="268673" y="1355204"/>
            <a:chExt cx="11762536" cy="5096758"/>
          </a:xfrm>
        </p:grpSpPr>
        <p:sp>
          <p:nvSpPr>
            <p:cNvPr id="5" name="Trapezoid 4"/>
            <p:cNvSpPr/>
            <p:nvPr/>
          </p:nvSpPr>
          <p:spPr bwMode="auto">
            <a:xfrm rot="16200000">
              <a:off x="-179586" y="3031263"/>
              <a:ext cx="5092807" cy="1748590"/>
            </a:xfrm>
            <a:prstGeom prst="trapezoid">
              <a:avLst>
                <a:gd name="adj" fmla="val 128943"/>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 name="TextBox 5"/>
            <p:cNvSpPr txBox="1"/>
            <p:nvPr/>
          </p:nvSpPr>
          <p:spPr>
            <a:xfrm>
              <a:off x="268673" y="3577406"/>
              <a:ext cx="1238159" cy="627864"/>
            </a:xfrm>
            <a:prstGeom prst="rect">
              <a:avLst/>
            </a:prstGeom>
            <a:solidFill>
              <a:schemeClr val="accent3"/>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Base</a:t>
              </a:r>
            </a:p>
          </p:txBody>
        </p:sp>
        <p:sp>
          <p:nvSpPr>
            <p:cNvPr id="11" name="Rectangle 10"/>
            <p:cNvSpPr/>
            <p:nvPr/>
          </p:nvSpPr>
          <p:spPr bwMode="auto">
            <a:xfrm>
              <a:off x="5190038" y="2256129"/>
              <a:ext cx="6819835" cy="580639"/>
            </a:xfrm>
            <a:prstGeom prst="rect">
              <a:avLst/>
            </a:prstGeom>
            <a:solidFill>
              <a:srgbClr val="F4E4F8">
                <a:alpha val="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 name="Rectangle 15"/>
            <p:cNvSpPr/>
            <p:nvPr/>
          </p:nvSpPr>
          <p:spPr>
            <a:xfrm>
              <a:off x="5228787" y="1515372"/>
              <a:ext cx="3264122"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Responsible for Admin Operation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anagers and Monitors the cluster</a:t>
              </a:r>
            </a:p>
          </p:txBody>
        </p:sp>
        <p:sp>
          <p:nvSpPr>
            <p:cNvPr id="17" name="Rounded Rectangle 16"/>
            <p:cNvSpPr/>
            <p:nvPr/>
          </p:nvSpPr>
          <p:spPr bwMode="auto">
            <a:xfrm>
              <a:off x="3334273" y="1476627"/>
              <a:ext cx="1873847" cy="63456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0" name="Rounded Rectangle 19"/>
            <p:cNvSpPr/>
            <p:nvPr/>
          </p:nvSpPr>
          <p:spPr bwMode="auto">
            <a:xfrm>
              <a:off x="3334273" y="2217384"/>
              <a:ext cx="1873847" cy="634566"/>
            </a:xfrm>
            <a:prstGeom prst="round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1" name="Rounded Rectangle 20"/>
            <p:cNvSpPr/>
            <p:nvPr/>
          </p:nvSpPr>
          <p:spPr bwMode="auto">
            <a:xfrm>
              <a:off x="3334273" y="3074988"/>
              <a:ext cx="1873847" cy="634566"/>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Rounded Rectangle 21"/>
            <p:cNvSpPr/>
            <p:nvPr/>
          </p:nvSpPr>
          <p:spPr bwMode="auto">
            <a:xfrm>
              <a:off x="3334273" y="3924950"/>
              <a:ext cx="1873847" cy="634566"/>
            </a:xfrm>
            <a:prstGeom prst="round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3" name="Rounded Rectangle 22"/>
            <p:cNvSpPr/>
            <p:nvPr/>
          </p:nvSpPr>
          <p:spPr bwMode="auto">
            <a:xfrm>
              <a:off x="3334273" y="4763475"/>
              <a:ext cx="1873847" cy="634566"/>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4" name="Rounded Rectangle 23"/>
            <p:cNvSpPr/>
            <p:nvPr/>
          </p:nvSpPr>
          <p:spPr bwMode="auto">
            <a:xfrm>
              <a:off x="3334273" y="5610743"/>
              <a:ext cx="1873847" cy="634566"/>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5" name="TextBox 24"/>
            <p:cNvSpPr txBox="1"/>
            <p:nvPr/>
          </p:nvSpPr>
          <p:spPr>
            <a:xfrm>
              <a:off x="3369654" y="1589166"/>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Master</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 name="TextBox 25"/>
            <p:cNvSpPr txBox="1"/>
            <p:nvPr/>
          </p:nvSpPr>
          <p:spPr>
            <a:xfrm>
              <a:off x="3371226" y="2329923"/>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RegionServer</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 name="TextBox 26"/>
            <p:cNvSpPr txBox="1"/>
            <p:nvPr/>
          </p:nvSpPr>
          <p:spPr>
            <a:xfrm>
              <a:off x="3372795" y="3147008"/>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Regions</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 name="TextBox 27"/>
            <p:cNvSpPr txBox="1"/>
            <p:nvPr/>
          </p:nvSpPr>
          <p:spPr>
            <a:xfrm>
              <a:off x="3421499" y="4044127"/>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Log</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9" name="TextBox 28"/>
            <p:cNvSpPr txBox="1"/>
            <p:nvPr/>
          </p:nvSpPr>
          <p:spPr>
            <a:xfrm>
              <a:off x="3460776" y="4875257"/>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StoreFile</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 name="TextBox 29"/>
            <p:cNvSpPr txBox="1"/>
            <p:nvPr/>
          </p:nvSpPr>
          <p:spPr>
            <a:xfrm>
              <a:off x="3462345" y="5715816"/>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Memstore</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1" name="Rectangle 30"/>
            <p:cNvSpPr/>
            <p:nvPr/>
          </p:nvSpPr>
          <p:spPr>
            <a:xfrm>
              <a:off x="8316666" y="1515372"/>
              <a:ext cx="3340608"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ssigns Regions to Region Server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ntrols Load balancing and failover</a:t>
              </a:r>
            </a:p>
          </p:txBody>
        </p:sp>
        <p:sp>
          <p:nvSpPr>
            <p:cNvPr id="32" name="Rectangle 31"/>
            <p:cNvSpPr/>
            <p:nvPr/>
          </p:nvSpPr>
          <p:spPr>
            <a:xfrm>
              <a:off x="5228787" y="2256129"/>
              <a:ext cx="3122588" cy="557076"/>
            </a:xfrm>
            <a:prstGeom prst="rect">
              <a:avLst/>
            </a:prstGeom>
            <a:solidFill>
              <a:srgbClr val="F4E4F8"/>
            </a:solidFill>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osts and manages region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plits the regions automatically</a:t>
              </a:r>
            </a:p>
          </p:txBody>
        </p:sp>
        <p:sp>
          <p:nvSpPr>
            <p:cNvPr id="33" name="Rectangle 32"/>
            <p:cNvSpPr/>
            <p:nvPr/>
          </p:nvSpPr>
          <p:spPr>
            <a:xfrm>
              <a:off x="8351375" y="2256129"/>
              <a:ext cx="3177656" cy="557076"/>
            </a:xfrm>
            <a:prstGeom prst="rect">
              <a:avLst/>
            </a:prstGeom>
            <a:solidFill>
              <a:srgbClr val="F4E4F8"/>
            </a:solidFill>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andles read/write request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mmunicates with clients directly</a:t>
              </a:r>
            </a:p>
          </p:txBody>
        </p:sp>
        <p:sp>
          <p:nvSpPr>
            <p:cNvPr id="34" name="Rectangle 33"/>
            <p:cNvSpPr/>
            <p:nvPr/>
          </p:nvSpPr>
          <p:spPr>
            <a:xfrm>
              <a:off x="5228787" y="3106767"/>
              <a:ext cx="6096000"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nsists of a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Memstore</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nd one Store per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lumnFamily</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Each store may have multiple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endPar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p:txBody>
        </p:sp>
        <p:sp>
          <p:nvSpPr>
            <p:cNvPr id="35" name="Rectangle 34"/>
            <p:cNvSpPr/>
            <p:nvPr/>
          </p:nvSpPr>
          <p:spPr>
            <a:xfrm>
              <a:off x="5228787" y="3899370"/>
              <a:ext cx="6603548" cy="674031"/>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 write-ahead Log, one per </a:t>
              </a:r>
              <a:r>
                <a:rPr kumimoji="0" lang="en-US" sz="14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RegionServer</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 All changes are recorded in this log.  Implemented as a Hadoop </a:t>
              </a:r>
              <a:r>
                <a:rPr kumimoji="0" lang="en-US" sz="1400" b="1" i="1" u="none" strike="noStrike" kern="1200" cap="none" spc="0" normalizeH="0" baseline="0" noProof="0" dirty="0">
                  <a:ln>
                    <a:noFill/>
                  </a:ln>
                  <a:solidFill>
                    <a:srgbClr val="000000">
                      <a:lumMod val="85000"/>
                      <a:lumOff val="15000"/>
                    </a:srgbClr>
                  </a:solidFill>
                  <a:effectLst/>
                  <a:uLnTx/>
                  <a:uFillTx/>
                  <a:latin typeface="Segoe UI"/>
                  <a:ea typeface="+mn-ea"/>
                  <a:cs typeface="+mn-cs"/>
                </a:rPr>
                <a:t>sequence file </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that stores records as sets of key/value pairs</a:t>
              </a:r>
            </a:p>
          </p:txBody>
        </p:sp>
        <p:sp>
          <p:nvSpPr>
            <p:cNvPr id="36" name="Rectangle 35"/>
            <p:cNvSpPr/>
            <p:nvPr/>
          </p:nvSpPr>
          <p:spPr>
            <a:xfrm>
              <a:off x="5190038" y="4792485"/>
              <a:ext cx="6642297"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data lives in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There are multiple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per store.</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re implemented as </a:t>
              </a:r>
              <a:r>
                <a:rPr kumimoji="0" lang="en-US" sz="1400" b="1" i="1" u="none" strike="noStrike" kern="1200" cap="none" spc="0" normalizeH="0" baseline="0" noProof="0" dirty="0" err="1">
                  <a:ln>
                    <a:noFill/>
                  </a:ln>
                  <a:solidFill>
                    <a:srgbClr val="000000">
                      <a:lumMod val="65000"/>
                      <a:lumOff val="35000"/>
                    </a:srgbClr>
                  </a:solidFill>
                  <a:effectLst/>
                  <a:uLnTx/>
                  <a:uFillTx/>
                  <a:latin typeface="Segoe UI"/>
                  <a:ea typeface="+mn-ea"/>
                  <a:cs typeface="+mn-cs"/>
                </a:rPr>
                <a:t>H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permit random read-write access)</a:t>
              </a:r>
            </a:p>
          </p:txBody>
        </p:sp>
        <p:sp>
          <p:nvSpPr>
            <p:cNvPr id="37" name="Rectangle 36"/>
            <p:cNvSpPr/>
            <p:nvPr/>
          </p:nvSpPr>
          <p:spPr>
            <a:xfrm>
              <a:off x="5228787" y="5641330"/>
              <a:ext cx="6096000" cy="480131"/>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 in-memory cache, one per Store. All changes are first stored in the cache and then written to persistently to the  </a:t>
              </a:r>
              <a:r>
                <a:rPr kumimoji="0" lang="en-US" sz="14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 asynchronously</a:t>
              </a:r>
            </a:p>
          </p:txBody>
        </p:sp>
        <p:sp>
          <p:nvSpPr>
            <p:cNvPr id="38" name="Rectangle 37"/>
            <p:cNvSpPr/>
            <p:nvPr/>
          </p:nvSpPr>
          <p:spPr bwMode="auto">
            <a:xfrm>
              <a:off x="3222826" y="1355204"/>
              <a:ext cx="45719" cy="50825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8" name="Straight Connector 7"/>
            <p:cNvCxnSpPr/>
            <p:nvPr/>
          </p:nvCxnSpPr>
          <p:spPr>
            <a:xfrm>
              <a:off x="3225070" y="1363578"/>
              <a:ext cx="81381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225070" y="6451962"/>
              <a:ext cx="7955280" cy="0"/>
            </a:xfrm>
            <a:prstGeom prst="line">
              <a:avLst/>
            </a:prstGeom>
            <a:ln w="28575">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5163453" y="3927226"/>
              <a:ext cx="6819835" cy="580639"/>
            </a:xfrm>
            <a:prstGeom prst="rect">
              <a:avLst/>
            </a:prstGeom>
            <a:solidFill>
              <a:srgbClr val="B957D2">
                <a:alpha val="1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sp>
          <p:nvSpPr>
            <p:cNvPr id="40" name="Rectangle 39"/>
            <p:cNvSpPr/>
            <p:nvPr/>
          </p:nvSpPr>
          <p:spPr bwMode="auto">
            <a:xfrm>
              <a:off x="5211374" y="5642457"/>
              <a:ext cx="6819835" cy="580639"/>
            </a:xfrm>
            <a:prstGeom prst="rect">
              <a:avLst/>
            </a:prstGeom>
            <a:solidFill>
              <a:srgbClr val="F4E4F8">
                <a:alpha val="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grpSp>
      <p:sp>
        <p:nvSpPr>
          <p:cNvPr id="42" name="Rectangle 41"/>
          <p:cNvSpPr/>
          <p:nvPr/>
        </p:nvSpPr>
        <p:spPr bwMode="auto">
          <a:xfrm>
            <a:off x="5211504" y="5595385"/>
            <a:ext cx="6819835" cy="580639"/>
          </a:xfrm>
          <a:prstGeom prst="rect">
            <a:avLst/>
          </a:prstGeom>
          <a:solidFill>
            <a:srgbClr val="B957D2">
              <a:alpha val="1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64244850"/>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Object Hierarchy</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3</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Rectangle 3"/>
          <p:cNvSpPr/>
          <p:nvPr/>
        </p:nvSpPr>
        <p:spPr bwMode="auto">
          <a:xfrm>
            <a:off x="479310" y="1332260"/>
            <a:ext cx="1626781" cy="6804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able</a:t>
            </a:r>
          </a:p>
        </p:txBody>
      </p:sp>
      <p:sp>
        <p:nvSpPr>
          <p:cNvPr id="6" name="Rectangle 5"/>
          <p:cNvSpPr/>
          <p:nvPr/>
        </p:nvSpPr>
        <p:spPr bwMode="auto">
          <a:xfrm>
            <a:off x="3313950" y="5391899"/>
            <a:ext cx="1626781" cy="680483"/>
          </a:xfrm>
          <a:prstGeom prst="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Block</a:t>
            </a:r>
          </a:p>
        </p:txBody>
      </p:sp>
      <p:sp>
        <p:nvSpPr>
          <p:cNvPr id="8" name="Rectangle 7"/>
          <p:cNvSpPr/>
          <p:nvPr/>
        </p:nvSpPr>
        <p:spPr bwMode="auto">
          <a:xfrm>
            <a:off x="1175742" y="2120515"/>
            <a:ext cx="1626781" cy="68048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Region</a:t>
            </a:r>
          </a:p>
        </p:txBody>
      </p:sp>
      <p:sp>
        <p:nvSpPr>
          <p:cNvPr id="9" name="Rectangle 8"/>
          <p:cNvSpPr/>
          <p:nvPr/>
        </p:nvSpPr>
        <p:spPr bwMode="auto">
          <a:xfrm>
            <a:off x="1879404" y="2906502"/>
            <a:ext cx="1626781" cy="680483"/>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Store</a:t>
            </a:r>
          </a:p>
        </p:txBody>
      </p:sp>
      <p:sp>
        <p:nvSpPr>
          <p:cNvPr id="10" name="Rectangle 9"/>
          <p:cNvSpPr/>
          <p:nvPr/>
        </p:nvSpPr>
        <p:spPr bwMode="auto">
          <a:xfrm>
            <a:off x="2592205" y="3735884"/>
            <a:ext cx="1626781" cy="680483"/>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rPr>
              <a:t>MemStore</a:t>
            </a: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ectangle 10"/>
          <p:cNvSpPr/>
          <p:nvPr/>
        </p:nvSpPr>
        <p:spPr bwMode="auto">
          <a:xfrm>
            <a:off x="2619637" y="4565048"/>
            <a:ext cx="1626781" cy="6804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rPr>
              <a:t>StoreFile</a:t>
            </a: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TextBox 11"/>
          <p:cNvSpPr txBox="1"/>
          <p:nvPr/>
        </p:nvSpPr>
        <p:spPr>
          <a:xfrm>
            <a:off x="2180519" y="1454859"/>
            <a:ext cx="2094614"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Base Table</a:t>
            </a:r>
          </a:p>
        </p:txBody>
      </p:sp>
      <p:sp>
        <p:nvSpPr>
          <p:cNvPr id="13" name="TextBox 12"/>
          <p:cNvSpPr txBox="1"/>
          <p:nvPr/>
        </p:nvSpPr>
        <p:spPr>
          <a:xfrm>
            <a:off x="2802516" y="2243114"/>
            <a:ext cx="7689435"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Regions for the table. HBase scales by having regions across many servers. </a:t>
            </a:r>
          </a:p>
        </p:txBody>
      </p:sp>
      <p:sp>
        <p:nvSpPr>
          <p:cNvPr id="14" name="TextBox 13"/>
          <p:cNvSpPr txBox="1"/>
          <p:nvPr/>
        </p:nvSpPr>
        <p:spPr>
          <a:xfrm>
            <a:off x="3506178" y="3029101"/>
            <a:ext cx="4305635"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tore per </a:t>
            </a: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lumnFamily</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or each region </a:t>
            </a:r>
          </a:p>
        </p:txBody>
      </p:sp>
      <p:sp>
        <p:nvSpPr>
          <p:cNvPr id="15" name="TextBox 14"/>
          <p:cNvSpPr txBox="1"/>
          <p:nvPr/>
        </p:nvSpPr>
        <p:spPr>
          <a:xfrm>
            <a:off x="4218985" y="3858483"/>
            <a:ext cx="5470464"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Memstore</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or each store for each region per table</a:t>
            </a:r>
          </a:p>
        </p:txBody>
      </p:sp>
      <p:sp>
        <p:nvSpPr>
          <p:cNvPr id="16" name="TextBox 15"/>
          <p:cNvSpPr txBox="1"/>
          <p:nvPr/>
        </p:nvSpPr>
        <p:spPr>
          <a:xfrm>
            <a:off x="4246418" y="4632745"/>
            <a:ext cx="6498274"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or each store for each region for the table</a:t>
            </a:r>
          </a:p>
        </p:txBody>
      </p:sp>
      <p:sp>
        <p:nvSpPr>
          <p:cNvPr id="17" name="Rectangle 1"/>
          <p:cNvSpPr>
            <a:spLocks noChangeArrowheads="1"/>
          </p:cNvSpPr>
          <p:nvPr/>
        </p:nvSpPr>
        <p:spPr bwMode="auto">
          <a:xfrm>
            <a:off x="4794870" y="5453822"/>
            <a:ext cx="7055753" cy="473646"/>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alt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Blocks within a </a:t>
            </a:r>
            <a:r>
              <a:rPr kumimoji="0" lang="en-US" alt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a:t>
            </a:r>
            <a:r>
              <a:rPr kumimoji="0" lang="en-US" alt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within a Store for each Region for the table </a:t>
            </a:r>
          </a:p>
        </p:txBody>
      </p:sp>
      <p:cxnSp>
        <p:nvCxnSpPr>
          <p:cNvPr id="19" name="Elbow Connector 18"/>
          <p:cNvCxnSpPr/>
          <p:nvPr/>
        </p:nvCxnSpPr>
        <p:spPr>
          <a:xfrm>
            <a:off x="479310" y="2023176"/>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Elbow Connector 20"/>
          <p:cNvCxnSpPr/>
          <p:nvPr/>
        </p:nvCxnSpPr>
        <p:spPr>
          <a:xfrm>
            <a:off x="1180350" y="2797368"/>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2" name="Elbow Connector 21"/>
          <p:cNvCxnSpPr/>
          <p:nvPr/>
        </p:nvCxnSpPr>
        <p:spPr>
          <a:xfrm>
            <a:off x="1890534" y="3598992"/>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3" name="Elbow Connector 22"/>
          <p:cNvCxnSpPr/>
          <p:nvPr/>
        </p:nvCxnSpPr>
        <p:spPr>
          <a:xfrm>
            <a:off x="2628150" y="5278440"/>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4" name="Elbow Connector 23"/>
          <p:cNvCxnSpPr/>
          <p:nvPr/>
        </p:nvCxnSpPr>
        <p:spPr>
          <a:xfrm>
            <a:off x="1896630" y="4080576"/>
            <a:ext cx="685800" cy="82296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907824444"/>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peed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lang="en-US" sz="2400" kern="0" spc="0" dirty="0">
                <a:solidFill>
                  <a:srgbClr val="FFFFFF"/>
                </a:solidFill>
              </a:rPr>
              <a:t>Process </a:t>
            </a:r>
            <a:r>
              <a:rPr lang="en-US" sz="2400" b="1" kern="0" spc="0" dirty="0">
                <a:solidFill>
                  <a:srgbClr val="FFFFFF"/>
                </a:solidFill>
              </a:rPr>
              <a:t>Stream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Store </a:t>
            </a:r>
            <a:r>
              <a:rPr lang="en-US" sz="2400" b="1" kern="0" spc="0" dirty="0">
                <a:solidFill>
                  <a:srgbClr val="FFFFFF"/>
                </a:solidFill>
              </a:rPr>
              <a:t>Window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Compute </a:t>
            </a:r>
            <a:r>
              <a:rPr lang="en-US" sz="2400" b="1" kern="0" spc="0" dirty="0">
                <a:solidFill>
                  <a:srgbClr val="FFFFFF"/>
                </a:solidFill>
              </a:rPr>
              <a:t>Dynamically</a:t>
            </a:r>
            <a:endParaRPr sz="2400" b="1" kern="0" spc="0" dirty="0">
              <a:solidFill>
                <a:srgbClr val="FFFFFF"/>
              </a:solidFill>
            </a:endParaRPr>
          </a:p>
        </p:txBody>
      </p:sp>
      <p:sp>
        <p:nvSpPr>
          <p:cNvPr id="14" name="TextBox 13"/>
          <p:cNvSpPr txBox="1"/>
          <p:nvPr/>
        </p:nvSpPr>
        <p:spPr>
          <a:xfrm>
            <a:off x="7486773" y="5178313"/>
            <a:ext cx="1565508" cy="732196"/>
          </a:xfrm>
          <a:prstGeom prst="rect">
            <a:avLst/>
          </a:prstGeom>
          <a:noFill/>
        </p:spPr>
        <p:txBody>
          <a:bodyPr wrap="square" lIns="179234" tIns="143387" rIns="179234" bIns="143387" rtlCol="0">
            <a:spAutoFit/>
          </a:bodyPr>
          <a:lstStyle/>
          <a:p>
            <a:pPr algn="ctr" defTabSz="913405">
              <a:lnSpc>
                <a:spcPct val="90000"/>
              </a:lnSpc>
            </a:pPr>
            <a:r>
              <a:rPr lang="en-US" sz="1567">
                <a:solidFill>
                  <a:schemeClr val="tx1">
                    <a:alpha val="99000"/>
                  </a:schemeClr>
                </a:solidFill>
              </a:rPr>
              <a:t>Real-time increments</a:t>
            </a:r>
          </a:p>
        </p:txBody>
      </p:sp>
      <p:sp>
        <p:nvSpPr>
          <p:cNvPr id="18" name="Rectangle 17"/>
          <p:cNvSpPr/>
          <p:nvPr/>
        </p:nvSpPr>
        <p:spPr bwMode="auto">
          <a:xfrm>
            <a:off x="5607425" y="2717525"/>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cxnSp>
        <p:nvCxnSpPr>
          <p:cNvPr id="19" name="Straight Arrow Connector 18"/>
          <p:cNvCxnSpPr>
            <a:stCxn id="18" idx="2"/>
            <a:endCxn id="20" idx="0"/>
          </p:cNvCxnSpPr>
          <p:nvPr/>
        </p:nvCxnSpPr>
        <p:spPr>
          <a:xfrm>
            <a:off x="6487308" y="3484773"/>
            <a:ext cx="0" cy="136175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5607425"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Process stream</a:t>
            </a:r>
          </a:p>
        </p:txBody>
      </p:sp>
      <p:sp>
        <p:nvSpPr>
          <p:cNvPr id="23" name="Rectangle 22"/>
          <p:cNvSpPr/>
          <p:nvPr/>
        </p:nvSpPr>
        <p:spPr bwMode="auto">
          <a:xfrm>
            <a:off x="9183332"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rement views</a:t>
            </a:r>
          </a:p>
        </p:txBody>
      </p:sp>
      <p:cxnSp>
        <p:nvCxnSpPr>
          <p:cNvPr id="24" name="Straight Arrow Connector 23"/>
          <p:cNvCxnSpPr>
            <a:stCxn id="20" idx="3"/>
            <a:endCxn id="23" idx="1"/>
          </p:cNvCxnSpPr>
          <p:nvPr/>
        </p:nvCxnSpPr>
        <p:spPr>
          <a:xfrm>
            <a:off x="7367195" y="5230151"/>
            <a:ext cx="1816138"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8684289" y="2297773"/>
            <a:ext cx="2757855" cy="1522900"/>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27" name="Can 26"/>
          <p:cNvSpPr/>
          <p:nvPr/>
        </p:nvSpPr>
        <p:spPr bwMode="auto">
          <a:xfrm>
            <a:off x="8899571"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8" name="Can 27"/>
          <p:cNvSpPr/>
          <p:nvPr/>
        </p:nvSpPr>
        <p:spPr bwMode="auto">
          <a:xfrm>
            <a:off x="10350512"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31" name="Straight Arrow Connector 30"/>
          <p:cNvCxnSpPr>
            <a:stCxn id="23" idx="0"/>
            <a:endCxn id="27" idx="3"/>
          </p:cNvCxnSpPr>
          <p:nvPr/>
        </p:nvCxnSpPr>
        <p:spPr>
          <a:xfrm flipH="1" flipV="1">
            <a:off x="9312728" y="3632236"/>
            <a:ext cx="750490"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0"/>
            <a:endCxn id="28" idx="3"/>
          </p:cNvCxnSpPr>
          <p:nvPr/>
        </p:nvCxnSpPr>
        <p:spPr>
          <a:xfrm flipV="1">
            <a:off x="10063218" y="3632236"/>
            <a:ext cx="700451"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9747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erving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745" kern="0" spc="0" dirty="0">
                <a:solidFill>
                  <a:srgbClr val="FFFFFF"/>
                </a:solidFill>
              </a:rPr>
              <a:t>Queries the batch and real-time views</a:t>
            </a:r>
          </a:p>
          <a:p>
            <a:pPr marL="336015" indent="-336015">
              <a:spcAft>
                <a:spcPts val="588"/>
              </a:spcAft>
              <a:buFont typeface="Arial" panose="020B0604020202020204" pitchFamily="34" charset="0"/>
              <a:buChar char="•"/>
            </a:pPr>
            <a:r>
              <a:rPr sz="2745" kern="0" spc="0" dirty="0">
                <a:solidFill>
                  <a:srgbClr val="FFFFFF"/>
                </a:solidFill>
              </a:rPr>
              <a:t>Merges the results</a:t>
            </a:r>
          </a:p>
        </p:txBody>
      </p:sp>
      <p:sp>
        <p:nvSpPr>
          <p:cNvPr id="18" name="Rectangle 17"/>
          <p:cNvSpPr/>
          <p:nvPr/>
        </p:nvSpPr>
        <p:spPr bwMode="auto">
          <a:xfrm>
            <a:off x="5529022" y="4514138"/>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19" name="Can 18"/>
          <p:cNvSpPr/>
          <p:nvPr/>
        </p:nvSpPr>
        <p:spPr bwMode="auto">
          <a:xfrm>
            <a:off x="5708088"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7" name="Can 26"/>
          <p:cNvSpPr/>
          <p:nvPr/>
        </p:nvSpPr>
        <p:spPr bwMode="auto">
          <a:xfrm>
            <a:off x="6914933"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9" name="Rectangle 28"/>
          <p:cNvSpPr/>
          <p:nvPr/>
        </p:nvSpPr>
        <p:spPr bwMode="auto">
          <a:xfrm>
            <a:off x="5529022" y="2464775"/>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Batch views</a:t>
            </a:r>
          </a:p>
        </p:txBody>
      </p:sp>
      <p:sp>
        <p:nvSpPr>
          <p:cNvPr id="31" name="Can 30"/>
          <p:cNvSpPr/>
          <p:nvPr/>
        </p:nvSpPr>
        <p:spPr bwMode="auto">
          <a:xfrm>
            <a:off x="5708088"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2" name="Can 31"/>
          <p:cNvSpPr/>
          <p:nvPr/>
        </p:nvSpPr>
        <p:spPr bwMode="auto">
          <a:xfrm>
            <a:off x="6914933"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3" name="Rectangle 32"/>
          <p:cNvSpPr/>
          <p:nvPr/>
        </p:nvSpPr>
        <p:spPr bwMode="auto">
          <a:xfrm>
            <a:off x="8270518" y="380293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Querying and merging</a:t>
            </a:r>
          </a:p>
        </p:txBody>
      </p:sp>
      <p:sp>
        <p:nvSpPr>
          <p:cNvPr id="34" name="Rectangle 33"/>
          <p:cNvSpPr/>
          <p:nvPr/>
        </p:nvSpPr>
        <p:spPr bwMode="auto">
          <a:xfrm>
            <a:off x="10509955" y="3557727"/>
            <a:ext cx="1229438"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Output</a:t>
            </a:r>
          </a:p>
        </p:txBody>
      </p:sp>
      <p:cxnSp>
        <p:nvCxnSpPr>
          <p:cNvPr id="35" name="Straight Arrow Connector 34"/>
          <p:cNvCxnSpPr>
            <a:stCxn id="33" idx="3"/>
            <a:endCxn id="34" idx="1"/>
          </p:cNvCxnSpPr>
          <p:nvPr/>
        </p:nvCxnSpPr>
        <p:spPr>
          <a:xfrm>
            <a:off x="10030286" y="4186561"/>
            <a:ext cx="479664"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807189" y="3129573"/>
            <a:ext cx="447606" cy="105699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7807189" y="4186562"/>
            <a:ext cx="447606" cy="99237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709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Lambda Architecture Support</a:t>
            </a:r>
          </a:p>
        </p:txBody>
      </p:sp>
      <p:sp>
        <p:nvSpPr>
          <p:cNvPr id="3" name="Rectangle 2"/>
          <p:cNvSpPr/>
          <p:nvPr/>
        </p:nvSpPr>
        <p:spPr bwMode="auto">
          <a:xfrm>
            <a:off x="8403170"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erving Layer</a:t>
            </a:r>
          </a:p>
        </p:txBody>
      </p:sp>
      <p:sp>
        <p:nvSpPr>
          <p:cNvPr id="4" name="Rectangle 3"/>
          <p:cNvSpPr/>
          <p:nvPr/>
        </p:nvSpPr>
        <p:spPr bwMode="auto">
          <a:xfrm>
            <a:off x="4911344"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peed Layer</a:t>
            </a:r>
          </a:p>
        </p:txBody>
      </p:sp>
      <p:sp>
        <p:nvSpPr>
          <p:cNvPr id="5" name="Rectangle 4"/>
          <p:cNvSpPr/>
          <p:nvPr/>
        </p:nvSpPr>
        <p:spPr bwMode="auto">
          <a:xfrm>
            <a:off x="1419518"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Batch Layer</a:t>
            </a:r>
          </a:p>
        </p:txBody>
      </p:sp>
      <p:sp>
        <p:nvSpPr>
          <p:cNvPr id="6" name="TextBox 5"/>
          <p:cNvSpPr txBox="1"/>
          <p:nvPr/>
        </p:nvSpPr>
        <p:spPr>
          <a:xfrm>
            <a:off x="1419519" y="2572117"/>
            <a:ext cx="2624539" cy="4507757"/>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HDInsight</a:t>
            </a:r>
          </a:p>
          <a:p>
            <a:pPr defTabSz="913860">
              <a:lnSpc>
                <a:spcPct val="90000"/>
              </a:lnSpc>
              <a:spcAft>
                <a:spcPts val="1175"/>
              </a:spcAft>
            </a:pPr>
            <a:r>
              <a:rPr lang="en-US" sz="1961" dirty="0"/>
              <a:t>Azure Blob storage</a:t>
            </a:r>
          </a:p>
          <a:p>
            <a:pPr defTabSz="913860">
              <a:lnSpc>
                <a:spcPct val="90000"/>
              </a:lnSpc>
              <a:spcAft>
                <a:spcPts val="1175"/>
              </a:spcAft>
            </a:pPr>
            <a:r>
              <a:rPr lang="en-US" sz="1961" dirty="0"/>
              <a:t>Azure Data Lake Store</a:t>
            </a:r>
          </a:p>
          <a:p>
            <a:pPr defTabSz="913860">
              <a:lnSpc>
                <a:spcPct val="90000"/>
              </a:lnSpc>
              <a:spcAft>
                <a:spcPts val="1175"/>
              </a:spcAft>
            </a:pPr>
            <a:r>
              <a:rPr lang="en-US" sz="1961" dirty="0"/>
              <a:t>Azure Data Lake Analytics</a:t>
            </a:r>
          </a:p>
          <a:p>
            <a:pPr defTabSz="913860">
              <a:lnSpc>
                <a:spcPct val="90000"/>
              </a:lnSpc>
              <a:spcAft>
                <a:spcPts val="1175"/>
              </a:spcAft>
            </a:pPr>
            <a:r>
              <a:rPr lang="en-US" sz="1961" dirty="0"/>
              <a:t>Azure SQL DW</a:t>
            </a:r>
          </a:p>
          <a:p>
            <a:pPr defTabSz="913860">
              <a:lnSpc>
                <a:spcPct val="90000"/>
              </a:lnSpc>
              <a:spcAft>
                <a:spcPts val="1175"/>
              </a:spcAft>
            </a:pPr>
            <a:r>
              <a:rPr lang="en-US" sz="1961" dirty="0"/>
              <a:t>MapReduce, Hive, Pig, </a:t>
            </a:r>
            <a:r>
              <a:rPr lang="en-US" sz="1961" dirty="0" err="1"/>
              <a:t>Oozie</a:t>
            </a:r>
            <a:endParaRPr lang="en-US" sz="1961" dirty="0"/>
          </a:p>
          <a:p>
            <a:pPr defTabSz="913860">
              <a:lnSpc>
                <a:spcPct val="90000"/>
              </a:lnSpc>
              <a:spcAft>
                <a:spcPts val="1175"/>
              </a:spcAft>
            </a:pPr>
            <a:r>
              <a:rPr lang="en-US" sz="1961" dirty="0"/>
              <a:t>SQL Server Integration Services</a:t>
            </a:r>
          </a:p>
          <a:p>
            <a:pPr defTabSz="913860">
              <a:lnSpc>
                <a:spcPct val="90000"/>
              </a:lnSpc>
              <a:spcAft>
                <a:spcPts val="1175"/>
              </a:spcAft>
            </a:pPr>
            <a:r>
              <a:rPr lang="en-US" sz="1961" dirty="0"/>
              <a:t>Azure Data Factory</a:t>
            </a:r>
          </a:p>
          <a:p>
            <a:pPr defTabSz="913860">
              <a:lnSpc>
                <a:spcPct val="90000"/>
              </a:lnSpc>
              <a:spcAft>
                <a:spcPts val="1175"/>
              </a:spcAft>
            </a:pPr>
            <a:endParaRPr lang="en-US" sz="1961" dirty="0"/>
          </a:p>
        </p:txBody>
      </p:sp>
      <p:sp>
        <p:nvSpPr>
          <p:cNvPr id="8" name="TextBox 7"/>
          <p:cNvSpPr txBox="1"/>
          <p:nvPr/>
        </p:nvSpPr>
        <p:spPr>
          <a:xfrm>
            <a:off x="4911343" y="2545632"/>
            <a:ext cx="2624540" cy="3671823"/>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Table Storage</a:t>
            </a:r>
          </a:p>
          <a:p>
            <a:pPr defTabSz="913860">
              <a:lnSpc>
                <a:spcPct val="90000"/>
              </a:lnSpc>
              <a:spcAft>
                <a:spcPts val="1175"/>
              </a:spcAft>
            </a:pPr>
            <a:r>
              <a:rPr lang="en-US" sz="1961" dirty="0" err="1"/>
              <a:t>CosmosDB</a:t>
            </a:r>
            <a:r>
              <a:rPr lang="en-US" sz="1961" dirty="0"/>
              <a:t>(</a:t>
            </a:r>
            <a:r>
              <a:rPr lang="en-US" sz="1961" dirty="0" err="1"/>
              <a:t>DocumentDB</a:t>
            </a:r>
            <a:r>
              <a:rPr lang="en-US" sz="1961" dirty="0"/>
              <a:t>) </a:t>
            </a:r>
          </a:p>
          <a:p>
            <a:pPr defTabSz="913860">
              <a:lnSpc>
                <a:spcPct val="90000"/>
              </a:lnSpc>
              <a:spcAft>
                <a:spcPts val="1175"/>
              </a:spcAft>
            </a:pPr>
            <a:r>
              <a:rPr lang="en-US" sz="1961" dirty="0" err="1"/>
              <a:t>Memcached</a:t>
            </a:r>
            <a:r>
              <a:rPr lang="en-US" sz="1961" dirty="0"/>
              <a:t>/MongoDB</a:t>
            </a:r>
          </a:p>
          <a:p>
            <a:pPr defTabSz="913860">
              <a:lnSpc>
                <a:spcPct val="90000"/>
              </a:lnSpc>
              <a:spcAft>
                <a:spcPts val="1175"/>
              </a:spcAft>
            </a:pPr>
            <a:r>
              <a:rPr lang="en-US" sz="1961" dirty="0"/>
              <a:t>SQL Server </a:t>
            </a:r>
            <a:r>
              <a:rPr lang="en-US" sz="1600" dirty="0"/>
              <a:t>(</a:t>
            </a:r>
            <a:r>
              <a:rPr lang="en-US" sz="1600" dirty="0" err="1"/>
              <a:t>Columnstore</a:t>
            </a:r>
            <a:r>
              <a:rPr lang="en-US" sz="1600" dirty="0"/>
              <a:t> indexes, </a:t>
            </a:r>
            <a:r>
              <a:rPr lang="en-US" sz="1600" dirty="0" err="1"/>
              <a:t>StreamInsight</a:t>
            </a:r>
            <a:r>
              <a:rPr lang="en-US" sz="1600" dirty="0"/>
              <a:t>)</a:t>
            </a:r>
            <a:endParaRPr lang="en-US" sz="1567" dirty="0"/>
          </a:p>
          <a:p>
            <a:pPr defTabSz="913860">
              <a:lnSpc>
                <a:spcPct val="90000"/>
              </a:lnSpc>
              <a:spcAft>
                <a:spcPts val="1175"/>
              </a:spcAft>
            </a:pPr>
            <a:r>
              <a:rPr lang="en-US" dirty="0"/>
              <a:t>Azure Stream Analytics</a:t>
            </a:r>
          </a:p>
          <a:p>
            <a:pPr defTabSz="913860">
              <a:lnSpc>
                <a:spcPct val="90000"/>
              </a:lnSpc>
              <a:spcAft>
                <a:spcPts val="1175"/>
              </a:spcAft>
            </a:pPr>
            <a:r>
              <a:rPr lang="en-US" dirty="0"/>
              <a:t>Azure Event Hubs</a:t>
            </a:r>
          </a:p>
          <a:p>
            <a:pPr defTabSz="913860">
              <a:lnSpc>
                <a:spcPct val="90000"/>
              </a:lnSpc>
              <a:spcAft>
                <a:spcPts val="1175"/>
              </a:spcAft>
            </a:pPr>
            <a:r>
              <a:rPr lang="en-US" dirty="0"/>
              <a:t>Kafka</a:t>
            </a:r>
          </a:p>
          <a:p>
            <a:pPr defTabSz="913860">
              <a:lnSpc>
                <a:spcPct val="90000"/>
              </a:lnSpc>
              <a:spcAft>
                <a:spcPts val="1175"/>
              </a:spcAft>
            </a:pPr>
            <a:r>
              <a:rPr lang="en-US" dirty="0"/>
              <a:t>Storm</a:t>
            </a:r>
          </a:p>
        </p:txBody>
      </p:sp>
      <p:sp>
        <p:nvSpPr>
          <p:cNvPr id="9" name="TextBox 8"/>
          <p:cNvSpPr txBox="1"/>
          <p:nvPr/>
        </p:nvSpPr>
        <p:spPr>
          <a:xfrm>
            <a:off x="8403170" y="2568971"/>
            <a:ext cx="2624539" cy="3385334"/>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Storage Explorer</a:t>
            </a:r>
          </a:p>
          <a:p>
            <a:pPr defTabSz="913860">
              <a:lnSpc>
                <a:spcPct val="90000"/>
              </a:lnSpc>
              <a:spcAft>
                <a:spcPts val="1175"/>
              </a:spcAft>
            </a:pPr>
            <a:r>
              <a:rPr lang="en-US" sz="1961" dirty="0"/>
              <a:t>Microsoft Excel</a:t>
            </a:r>
          </a:p>
          <a:p>
            <a:pPr defTabSz="913860">
              <a:lnSpc>
                <a:spcPct val="90000"/>
              </a:lnSpc>
              <a:spcAft>
                <a:spcPts val="1175"/>
              </a:spcAft>
            </a:pPr>
            <a:r>
              <a:rPr lang="en-US" sz="1961" dirty="0" err="1"/>
              <a:t>PowerBI</a:t>
            </a:r>
            <a:endParaRPr lang="en-US" sz="1961" dirty="0"/>
          </a:p>
          <a:p>
            <a:pPr defTabSz="913860">
              <a:lnSpc>
                <a:spcPct val="90000"/>
              </a:lnSpc>
              <a:spcAft>
                <a:spcPts val="1175"/>
              </a:spcAft>
            </a:pPr>
            <a:r>
              <a:rPr lang="en-US" sz="1961" dirty="0"/>
              <a:t>Power (Query, Pivot, View, Map)</a:t>
            </a:r>
          </a:p>
          <a:p>
            <a:pPr defTabSz="913860">
              <a:lnSpc>
                <a:spcPct val="90000"/>
              </a:lnSpc>
              <a:spcAft>
                <a:spcPts val="1175"/>
              </a:spcAft>
            </a:pPr>
            <a:r>
              <a:rPr lang="en-US" sz="1961" dirty="0"/>
              <a:t>Reporting Services</a:t>
            </a:r>
          </a:p>
          <a:p>
            <a:pPr defTabSz="913860">
              <a:lnSpc>
                <a:spcPct val="90000"/>
              </a:lnSpc>
              <a:spcAft>
                <a:spcPts val="1175"/>
              </a:spcAft>
            </a:pPr>
            <a:r>
              <a:rPr lang="en-US" sz="1961" dirty="0"/>
              <a:t>LINQ to Hive</a:t>
            </a:r>
          </a:p>
          <a:p>
            <a:pPr defTabSz="913860">
              <a:lnSpc>
                <a:spcPct val="90000"/>
              </a:lnSpc>
              <a:spcAft>
                <a:spcPts val="1175"/>
              </a:spcAft>
            </a:pPr>
            <a:r>
              <a:rPr lang="en-US" sz="1961" dirty="0"/>
              <a:t>Analysis Services</a:t>
            </a:r>
          </a:p>
        </p:txBody>
      </p:sp>
    </p:spTree>
    <p:extLst>
      <p:ext uri="{BB962C8B-B14F-4D97-AF65-F5344CB8AC3E}">
        <p14:creationId xmlns:p14="http://schemas.microsoft.com/office/powerpoint/2010/main" val="1596498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a:xfrm>
            <a:off x="2854448" y="4205169"/>
            <a:ext cx="5166077" cy="240067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rgbClr val="C00000"/>
                </a:solidFill>
                <a:effectLst/>
                <a:uLnTx/>
                <a:uFillTx/>
                <a:latin typeface="Segoe UI Semibold" panose="020B0702040204020203" pitchFamily="34" charset="0"/>
                <a:cs typeface="Segoe UI Semibold" panose="020B0702040204020203" pitchFamily="34" charset="0"/>
              </a:rPr>
              <a:t>Speed Layer (Hot Path)</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endParaRPr>
          </a:p>
        </p:txBody>
      </p:sp>
      <p:sp>
        <p:nvSpPr>
          <p:cNvPr id="211" name="Rectangle 210"/>
          <p:cNvSpPr/>
          <p:nvPr/>
        </p:nvSpPr>
        <p:spPr>
          <a:xfrm>
            <a:off x="5793611" y="2667225"/>
            <a:ext cx="1481675" cy="13275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 rIns="17928"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07" name="Rectangle 306"/>
          <p:cNvSpPr/>
          <p:nvPr>
            <p:custDataLst>
              <p:tags r:id="rId2"/>
            </p:custDataLst>
          </p:nvPr>
        </p:nvSpPr>
        <p:spPr>
          <a:xfrm>
            <a:off x="351435" y="3109392"/>
            <a:ext cx="1095178" cy="878195"/>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Apps</a:t>
            </a:r>
          </a:p>
        </p:txBody>
      </p:sp>
      <p:graphicFrame>
        <p:nvGraphicFramePr>
          <p:cNvPr id="31" name="Object 30"/>
          <p:cNvGraphicFramePr>
            <a:graphicFrameLocks noChangeAspect="1"/>
          </p:cNvGraphicFramePr>
          <p:nvPr>
            <p:custDataLst>
              <p:tags r:id="rId3"/>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58" imgW="377" imgH="377" progId="TCLayout.ActiveDocument.1">
                  <p:embed/>
                </p:oleObj>
              </mc:Choice>
              <mc:Fallback>
                <p:oleObj name="think-cell Slide" r:id="rId58" imgW="377" imgH="377" progId="TCLayout.ActiveDocument.1">
                  <p:embed/>
                  <p:pic>
                    <p:nvPicPr>
                      <p:cNvPr id="31" name="Object 30"/>
                      <p:cNvPicPr/>
                      <p:nvPr/>
                    </p:nvPicPr>
                    <p:blipFill>
                      <a:blip r:embed="rId59"/>
                      <a:stretch>
                        <a:fillRect/>
                      </a:stretch>
                    </p:blipFill>
                    <p:spPr>
                      <a:xfrm>
                        <a:off x="4042" y="2076"/>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b="1">
                <a:solidFill>
                  <a:srgbClr val="002050"/>
                </a:solidFill>
              </a:rPr>
              <a:t>Lambda on Azure</a:t>
            </a:r>
            <a:r>
              <a:rPr lang="en-IN">
                <a:solidFill>
                  <a:schemeClr val="bg1"/>
                </a:solidFill>
              </a:rPr>
              <a:t> Data Options</a:t>
            </a:r>
          </a:p>
        </p:txBody>
      </p:sp>
      <p:graphicFrame>
        <p:nvGraphicFramePr>
          <p:cNvPr id="69" name="Table 68"/>
          <p:cNvGraphicFramePr>
            <a:graphicFrameLocks noGrp="1"/>
          </p:cNvGraphicFramePr>
          <p:nvPr>
            <p:extLst>
              <p:ext uri="{D42A27DB-BD31-4B8C-83A1-F6EECF244321}">
                <p14:modId xmlns:p14="http://schemas.microsoft.com/office/powerpoint/2010/main" val="3960498705"/>
              </p:ext>
            </p:extLst>
          </p:nvPr>
        </p:nvGraphicFramePr>
        <p:xfrm>
          <a:off x="264250" y="6433379"/>
          <a:ext cx="1722421" cy="355702"/>
        </p:xfrm>
        <a:graphic>
          <a:graphicData uri="http://schemas.openxmlformats.org/drawingml/2006/table">
            <a:tbl>
              <a:tblPr>
                <a:tableStyleId>{5C22544A-7EE6-4342-B048-85BDC9FD1C3A}</a:tableStyleId>
              </a:tblPr>
              <a:tblGrid>
                <a:gridCol w="137183">
                  <a:extLst>
                    <a:ext uri="{9D8B030D-6E8A-4147-A177-3AD203B41FA5}">
                      <a16:colId xmlns:a16="http://schemas.microsoft.com/office/drawing/2014/main" val="20000"/>
                    </a:ext>
                  </a:extLst>
                </a:gridCol>
                <a:gridCol w="927944">
                  <a:extLst>
                    <a:ext uri="{9D8B030D-6E8A-4147-A177-3AD203B41FA5}">
                      <a16:colId xmlns:a16="http://schemas.microsoft.com/office/drawing/2014/main" val="20001"/>
                    </a:ext>
                  </a:extLst>
                </a:gridCol>
                <a:gridCol w="171842">
                  <a:extLst>
                    <a:ext uri="{9D8B030D-6E8A-4147-A177-3AD203B41FA5}">
                      <a16:colId xmlns:a16="http://schemas.microsoft.com/office/drawing/2014/main" val="20002"/>
                    </a:ext>
                  </a:extLst>
                </a:gridCol>
                <a:gridCol w="485452">
                  <a:extLst>
                    <a:ext uri="{9D8B030D-6E8A-4147-A177-3AD203B41FA5}">
                      <a16:colId xmlns:a16="http://schemas.microsoft.com/office/drawing/2014/main" val="20003"/>
                    </a:ext>
                  </a:extLst>
                </a:gridCol>
              </a:tblGrid>
              <a:tr h="112328">
                <a:tc gridSpan="4">
                  <a:txBody>
                    <a:bodyPr/>
                    <a:lstStyle/>
                    <a:p>
                      <a:r>
                        <a:rPr lang="en-US" sz="500">
                          <a:solidFill>
                            <a:schemeClr val="tx1"/>
                          </a:solidFill>
                        </a:rPr>
                        <a:t>Legend</a:t>
                      </a:r>
                    </a:p>
                  </a:txBody>
                  <a:tcPr marL="0" marR="0" marT="0" marB="0">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1687">
                <a:tc>
                  <a:txBody>
                    <a:bodyPr/>
                    <a:lstStyle/>
                    <a:p>
                      <a:endParaRPr lang="en-US" sz="500">
                        <a:solidFill>
                          <a:schemeClr val="tx1"/>
                        </a:solidFill>
                      </a:endParaRPr>
                    </a:p>
                  </a:txBody>
                  <a:tcPr marL="0" marR="0" marT="0" marB="0">
                    <a:solidFill>
                      <a:schemeClr val="accent2"/>
                    </a:solidFill>
                  </a:tcPr>
                </a:tc>
                <a:tc>
                  <a:txBody>
                    <a:bodyPr/>
                    <a:lstStyle/>
                    <a:p>
                      <a:r>
                        <a:rPr lang="en-US" sz="600">
                          <a:solidFill>
                            <a:schemeClr val="tx1"/>
                          </a:solidFill>
                        </a:rPr>
                        <a:t>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Cold Path</a:t>
                      </a:r>
                    </a:p>
                  </a:txBody>
                  <a:tcPr marL="44821" marR="0" marT="0" marB="0" anchor="ctr">
                    <a:noFill/>
                  </a:tcPr>
                </a:tc>
                <a:extLst>
                  <a:ext uri="{0D108BD9-81ED-4DB2-BD59-A6C34878D82A}">
                    <a16:rowId xmlns:a16="http://schemas.microsoft.com/office/drawing/2014/main" val="10001"/>
                  </a:ext>
                </a:extLst>
              </a:tr>
              <a:tr h="121687">
                <a:tc>
                  <a:txBody>
                    <a:bodyPr/>
                    <a:lstStyle/>
                    <a:p>
                      <a:endParaRPr lang="en-US" sz="500">
                        <a:solidFill>
                          <a:schemeClr val="tx1"/>
                        </a:solidFill>
                      </a:endParaRPr>
                    </a:p>
                  </a:txBody>
                  <a:tcPr marL="0" marR="0" marT="0" marB="0">
                    <a:solidFill>
                      <a:srgbClr val="7F7F7F"/>
                    </a:solidFill>
                  </a:tcPr>
                </a:tc>
                <a:tc>
                  <a:txBody>
                    <a:bodyPr/>
                    <a:lstStyle/>
                    <a:p>
                      <a:r>
                        <a:rPr lang="en-US" sz="600">
                          <a:solidFill>
                            <a:schemeClr val="tx1"/>
                          </a:solidFill>
                        </a:rPr>
                        <a:t>OSS on 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Hot Path</a:t>
                      </a:r>
                    </a:p>
                  </a:txBody>
                  <a:tcPr marL="44821" marR="0" marT="0" marB="0" anchor="ctr">
                    <a:noFill/>
                  </a:tcPr>
                </a:tc>
                <a:extLst>
                  <a:ext uri="{0D108BD9-81ED-4DB2-BD59-A6C34878D82A}">
                    <a16:rowId xmlns:a16="http://schemas.microsoft.com/office/drawing/2014/main" val="10002"/>
                  </a:ext>
                </a:extLst>
              </a:tr>
            </a:tbl>
          </a:graphicData>
        </a:graphic>
      </p:graphicFrame>
      <p:sp>
        <p:nvSpPr>
          <p:cNvPr id="161" name="Rectangle 160"/>
          <p:cNvSpPr/>
          <p:nvPr/>
        </p:nvSpPr>
        <p:spPr>
          <a:xfrm>
            <a:off x="2854450" y="1597581"/>
            <a:ext cx="5166076" cy="256810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rPr>
              <a:t>Batch Layer (Cold Path)</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64" name="Rectangle 163"/>
          <p:cNvSpPr/>
          <p:nvPr>
            <p:custDataLst>
              <p:tags r:id="rId4"/>
            </p:custDataLst>
          </p:nvPr>
        </p:nvSpPr>
        <p:spPr>
          <a:xfrm>
            <a:off x="294696" y="1622241"/>
            <a:ext cx="113116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Generation</a:t>
            </a:r>
          </a:p>
        </p:txBody>
      </p:sp>
      <p:sp>
        <p:nvSpPr>
          <p:cNvPr id="167" name="Rectangle 166"/>
          <p:cNvSpPr/>
          <p:nvPr>
            <p:custDataLst>
              <p:tags r:id="rId5"/>
            </p:custDataLst>
          </p:nvPr>
        </p:nvSpPr>
        <p:spPr>
          <a:xfrm>
            <a:off x="583379" y="1200032"/>
            <a:ext cx="1717913" cy="21679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68" name="Rectangle 167"/>
          <p:cNvSpPr/>
          <p:nvPr>
            <p:custDataLst>
              <p:tags r:id="rId6"/>
            </p:custDataLst>
          </p:nvPr>
        </p:nvSpPr>
        <p:spPr>
          <a:xfrm>
            <a:off x="1754332" y="1766228"/>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Data Factory</a:t>
            </a:r>
          </a:p>
        </p:txBody>
      </p:sp>
      <p:sp>
        <p:nvSpPr>
          <p:cNvPr id="169" name="Rectangle 168"/>
          <p:cNvSpPr/>
          <p:nvPr>
            <p:custDataLst>
              <p:tags r:id="rId7"/>
            </p:custDataLst>
          </p:nvPr>
        </p:nvSpPr>
        <p:spPr>
          <a:xfrm>
            <a:off x="3323835" y="1193041"/>
            <a:ext cx="106830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170" name="Rectangle 169"/>
          <p:cNvSpPr/>
          <p:nvPr>
            <p:custDataLst>
              <p:tags r:id="rId8"/>
            </p:custDataLst>
          </p:nvPr>
        </p:nvSpPr>
        <p:spPr>
          <a:xfrm>
            <a:off x="5876905" y="1188419"/>
            <a:ext cx="1218278" cy="382674"/>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Machine Learn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amp; Analytics</a:t>
            </a:r>
          </a:p>
        </p:txBody>
      </p:sp>
      <p:sp>
        <p:nvSpPr>
          <p:cNvPr id="171" name="Rectangle 170"/>
          <p:cNvSpPr/>
          <p:nvPr>
            <p:custDataLst>
              <p:tags r:id="rId9"/>
            </p:custDataLst>
          </p:nvPr>
        </p:nvSpPr>
        <p:spPr>
          <a:xfrm>
            <a:off x="9196311" y="1163309"/>
            <a:ext cx="127888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Consumption</a:t>
            </a:r>
          </a:p>
        </p:txBody>
      </p:sp>
      <p:sp>
        <p:nvSpPr>
          <p:cNvPr id="172" name="Freeform 171"/>
          <p:cNvSpPr/>
          <p:nvPr/>
        </p:nvSpPr>
        <p:spPr bwMode="auto">
          <a:xfrm>
            <a:off x="2033310" y="2257035"/>
            <a:ext cx="244223" cy="240792"/>
          </a:xfrm>
          <a:custGeom>
            <a:avLst/>
            <a:gdLst>
              <a:gd name="connsiteX0" fmla="*/ 453461 w 587539"/>
              <a:gd name="connsiteY0" fmla="*/ 440143 h 588623"/>
              <a:gd name="connsiteX1" fmla="*/ 453461 w 587539"/>
              <a:gd name="connsiteY1" fmla="*/ 504690 h 588623"/>
              <a:gd name="connsiteX2" fmla="*/ 525508 w 587539"/>
              <a:gd name="connsiteY2" fmla="*/ 504690 h 588623"/>
              <a:gd name="connsiteX3" fmla="*/ 525508 w 587539"/>
              <a:gd name="connsiteY3" fmla="*/ 440143 h 588623"/>
              <a:gd name="connsiteX4" fmla="*/ 334132 w 587539"/>
              <a:gd name="connsiteY4" fmla="*/ 440143 h 588623"/>
              <a:gd name="connsiteX5" fmla="*/ 334132 w 587539"/>
              <a:gd name="connsiteY5" fmla="*/ 504690 h 588623"/>
              <a:gd name="connsiteX6" fmla="*/ 406179 w 587539"/>
              <a:gd name="connsiteY6" fmla="*/ 504690 h 588623"/>
              <a:gd name="connsiteX7" fmla="*/ 406179 w 587539"/>
              <a:gd name="connsiteY7" fmla="*/ 440143 h 588623"/>
              <a:gd name="connsiteX8" fmla="*/ 214803 w 587539"/>
              <a:gd name="connsiteY8" fmla="*/ 440143 h 588623"/>
              <a:gd name="connsiteX9" fmla="*/ 214803 w 587539"/>
              <a:gd name="connsiteY9" fmla="*/ 504690 h 588623"/>
              <a:gd name="connsiteX10" fmla="*/ 286850 w 587539"/>
              <a:gd name="connsiteY10" fmla="*/ 504690 h 588623"/>
              <a:gd name="connsiteX11" fmla="*/ 286850 w 587539"/>
              <a:gd name="connsiteY11" fmla="*/ 440143 h 588623"/>
              <a:gd name="connsiteX12" fmla="*/ 128441 w 587539"/>
              <a:gd name="connsiteY12" fmla="*/ 24522 h 588623"/>
              <a:gd name="connsiteX13" fmla="*/ 31061 w 587539"/>
              <a:gd name="connsiteY13" fmla="*/ 56496 h 588623"/>
              <a:gd name="connsiteX14" fmla="*/ 128441 w 587539"/>
              <a:gd name="connsiteY14" fmla="*/ 88470 h 588623"/>
              <a:gd name="connsiteX15" fmla="*/ 225821 w 587539"/>
              <a:gd name="connsiteY15" fmla="*/ 56496 h 588623"/>
              <a:gd name="connsiteX16" fmla="*/ 128441 w 587539"/>
              <a:gd name="connsiteY16" fmla="*/ 24522 h 588623"/>
              <a:gd name="connsiteX17" fmla="*/ 128434 w 587539"/>
              <a:gd name="connsiteY17" fmla="*/ 0 h 588623"/>
              <a:gd name="connsiteX18" fmla="*/ 252056 w 587539"/>
              <a:gd name="connsiteY18" fmla="*/ 78072 h 588623"/>
              <a:gd name="connsiteX19" fmla="*/ 252056 w 587539"/>
              <a:gd name="connsiteY19" fmla="*/ 344838 h 588623"/>
              <a:gd name="connsiteX20" fmla="*/ 420306 w 587539"/>
              <a:gd name="connsiteY20" fmla="*/ 194705 h 588623"/>
              <a:gd name="connsiteX21" fmla="*/ 420306 w 587539"/>
              <a:gd name="connsiteY21" fmla="*/ 341055 h 588623"/>
              <a:gd name="connsiteX22" fmla="*/ 584317 w 587539"/>
              <a:gd name="connsiteY22" fmla="*/ 194705 h 588623"/>
              <a:gd name="connsiteX23" fmla="*/ 587539 w 587539"/>
              <a:gd name="connsiteY23" fmla="*/ 588623 h 588623"/>
              <a:gd name="connsiteX24" fmla="*/ 0 w 587539"/>
              <a:gd name="connsiteY24" fmla="*/ 588623 h 588623"/>
              <a:gd name="connsiteX25" fmla="*/ 0 w 587539"/>
              <a:gd name="connsiteY25" fmla="*/ 404706 h 588623"/>
              <a:gd name="connsiteX26" fmla="*/ 47 w 587539"/>
              <a:gd name="connsiteY26" fmla="*/ 404706 h 588623"/>
              <a:gd name="connsiteX27" fmla="*/ 47 w 587539"/>
              <a:gd name="connsiteY27" fmla="*/ 78072 h 588623"/>
              <a:gd name="connsiteX28" fmla="*/ 128434 w 587539"/>
              <a:gd name="connsiteY28" fmla="*/ 0 h 58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7539" h="588623">
                <a:moveTo>
                  <a:pt x="453461" y="440143"/>
                </a:moveTo>
                <a:lnTo>
                  <a:pt x="453461" y="504690"/>
                </a:lnTo>
                <a:lnTo>
                  <a:pt x="525508" y="504690"/>
                </a:lnTo>
                <a:lnTo>
                  <a:pt x="525508" y="440143"/>
                </a:lnTo>
                <a:close/>
                <a:moveTo>
                  <a:pt x="334132" y="440143"/>
                </a:moveTo>
                <a:lnTo>
                  <a:pt x="334132" y="504690"/>
                </a:lnTo>
                <a:lnTo>
                  <a:pt x="406179" y="504690"/>
                </a:lnTo>
                <a:lnTo>
                  <a:pt x="406179" y="440143"/>
                </a:lnTo>
                <a:close/>
                <a:moveTo>
                  <a:pt x="214803" y="440143"/>
                </a:moveTo>
                <a:lnTo>
                  <a:pt x="214803" y="504690"/>
                </a:lnTo>
                <a:lnTo>
                  <a:pt x="286850" y="504690"/>
                </a:lnTo>
                <a:lnTo>
                  <a:pt x="286850" y="440143"/>
                </a:lnTo>
                <a:close/>
                <a:moveTo>
                  <a:pt x="128441" y="24522"/>
                </a:moveTo>
                <a:cubicBezTo>
                  <a:pt x="74660" y="24522"/>
                  <a:pt x="31061" y="38837"/>
                  <a:pt x="31061" y="56496"/>
                </a:cubicBezTo>
                <a:cubicBezTo>
                  <a:pt x="31061" y="74155"/>
                  <a:pt x="74660" y="88470"/>
                  <a:pt x="128441" y="88470"/>
                </a:cubicBezTo>
                <a:cubicBezTo>
                  <a:pt x="182222" y="88470"/>
                  <a:pt x="225821" y="74155"/>
                  <a:pt x="225821" y="56496"/>
                </a:cubicBezTo>
                <a:cubicBezTo>
                  <a:pt x="225821" y="38837"/>
                  <a:pt x="182222" y="24522"/>
                  <a:pt x="128441" y="24522"/>
                </a:cubicBezTo>
                <a:close/>
                <a:moveTo>
                  <a:pt x="128434" y="0"/>
                </a:moveTo>
                <a:cubicBezTo>
                  <a:pt x="198013" y="0"/>
                  <a:pt x="252056" y="21782"/>
                  <a:pt x="252056" y="78072"/>
                </a:cubicBezTo>
                <a:lnTo>
                  <a:pt x="252056" y="344838"/>
                </a:lnTo>
                <a:lnTo>
                  <a:pt x="420306" y="194705"/>
                </a:lnTo>
                <a:lnTo>
                  <a:pt x="420306" y="341055"/>
                </a:lnTo>
                <a:lnTo>
                  <a:pt x="584317" y="194705"/>
                </a:lnTo>
                <a:lnTo>
                  <a:pt x="587539" y="588623"/>
                </a:lnTo>
                <a:lnTo>
                  <a:pt x="0" y="588623"/>
                </a:lnTo>
                <a:lnTo>
                  <a:pt x="0" y="404706"/>
                </a:lnTo>
                <a:lnTo>
                  <a:pt x="47" y="404706"/>
                </a:lnTo>
                <a:lnTo>
                  <a:pt x="47" y="78072"/>
                </a:lnTo>
                <a:cubicBezTo>
                  <a:pt x="47" y="21782"/>
                  <a:pt x="58854" y="0"/>
                  <a:pt x="1284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Rectangle 174"/>
          <p:cNvSpPr/>
          <p:nvPr/>
        </p:nvSpPr>
        <p:spPr>
          <a:xfrm>
            <a:off x="4685398" y="4415288"/>
            <a:ext cx="1685207" cy="1884538"/>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176" name="Rectangle 175"/>
          <p:cNvSpPr/>
          <p:nvPr>
            <p:custDataLst>
              <p:tags r:id="rId10"/>
            </p:custDataLst>
          </p:nvPr>
        </p:nvSpPr>
        <p:spPr>
          <a:xfrm>
            <a:off x="4781069" y="4480468"/>
            <a:ext cx="1530738" cy="6481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tream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nalytics</a:t>
            </a:r>
          </a:p>
        </p:txBody>
      </p:sp>
      <p:sp>
        <p:nvSpPr>
          <p:cNvPr id="177" name="Rectangle 176"/>
          <p:cNvSpPr/>
          <p:nvPr>
            <p:custDataLst>
              <p:tags r:id="rId11"/>
            </p:custDataLst>
          </p:nvPr>
        </p:nvSpPr>
        <p:spPr>
          <a:xfrm>
            <a:off x="4781069" y="5243952"/>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orm</a:t>
            </a:r>
          </a:p>
        </p:txBody>
      </p:sp>
      <p:sp>
        <p:nvSpPr>
          <p:cNvPr id="178" name="Rectangle 177"/>
          <p:cNvSpPr/>
          <p:nvPr>
            <p:custDataLst>
              <p:tags r:id="rId12"/>
            </p:custDataLst>
          </p:nvPr>
        </p:nvSpPr>
        <p:spPr>
          <a:xfrm>
            <a:off x="4781069" y="5759307"/>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park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a:t>
            </a:r>
          </a:p>
        </p:txBody>
      </p:sp>
      <p:sp>
        <p:nvSpPr>
          <p:cNvPr id="179" name="Rectangle 178"/>
          <p:cNvSpPr/>
          <p:nvPr>
            <p:custDataLst>
              <p:tags r:id="rId13"/>
            </p:custDataLst>
          </p:nvPr>
        </p:nvSpPr>
        <p:spPr>
          <a:xfrm>
            <a:off x="8805091" y="434086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Power BI</a:t>
            </a:r>
          </a:p>
        </p:txBody>
      </p:sp>
      <p:sp>
        <p:nvSpPr>
          <p:cNvPr id="180" name="Rectangle 179"/>
          <p:cNvSpPr/>
          <p:nvPr>
            <p:custDataLst>
              <p:tags r:id="rId14"/>
            </p:custDataLst>
          </p:nvPr>
        </p:nvSpPr>
        <p:spPr>
          <a:xfrm>
            <a:off x="8805091" y="488589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Web App</a:t>
            </a:r>
          </a:p>
        </p:txBody>
      </p:sp>
      <p:sp>
        <p:nvSpPr>
          <p:cNvPr id="181" name="Rectangle 180"/>
          <p:cNvSpPr/>
          <p:nvPr>
            <p:custDataLst>
              <p:tags r:id="rId15"/>
            </p:custDataLst>
          </p:nvPr>
        </p:nvSpPr>
        <p:spPr>
          <a:xfrm>
            <a:off x="8805091" y="5430929"/>
            <a:ext cx="2051071" cy="525968"/>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Hadoop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Interface</a:t>
            </a:r>
          </a:p>
        </p:txBody>
      </p:sp>
      <p:sp>
        <p:nvSpPr>
          <p:cNvPr id="186" name="Rectangle 185"/>
          <p:cNvSpPr/>
          <p:nvPr>
            <p:custDataLst>
              <p:tags r:id="rId16"/>
            </p:custDataLst>
          </p:nvPr>
        </p:nvSpPr>
        <p:spPr>
          <a:xfrm>
            <a:off x="8791507" y="1907576"/>
            <a:ext cx="2063007" cy="871319"/>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d Hoc Dashboards</a:t>
            </a:r>
          </a:p>
        </p:txBody>
      </p:sp>
      <p:sp>
        <p:nvSpPr>
          <p:cNvPr id="187" name="Rectangle 186"/>
          <p:cNvSpPr/>
          <p:nvPr>
            <p:custDataLst>
              <p:tags r:id="rId17"/>
            </p:custDataLst>
          </p:nvPr>
        </p:nvSpPr>
        <p:spPr>
          <a:xfrm>
            <a:off x="8847378" y="2183779"/>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ower BI</a:t>
            </a:r>
          </a:p>
        </p:txBody>
      </p:sp>
      <p:sp>
        <p:nvSpPr>
          <p:cNvPr id="188" name="Rectangle 187"/>
          <p:cNvSpPr/>
          <p:nvPr>
            <p:custDataLst>
              <p:tags r:id="rId18"/>
            </p:custDataLst>
          </p:nvPr>
        </p:nvSpPr>
        <p:spPr>
          <a:xfrm>
            <a:off x="9555754" y="2183779"/>
            <a:ext cx="659958"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Cortana</a:t>
            </a:r>
          </a:p>
        </p:txBody>
      </p:sp>
      <p:sp>
        <p:nvSpPr>
          <p:cNvPr id="189" name="Rectangle 188"/>
          <p:cNvSpPr/>
          <p:nvPr>
            <p:custDataLst>
              <p:tags r:id="rId19"/>
            </p:custDataLst>
          </p:nvPr>
        </p:nvSpPr>
        <p:spPr>
          <a:xfrm>
            <a:off x="10285062" y="2180359"/>
            <a:ext cx="482620" cy="258517"/>
          </a:xfrm>
          <a:prstGeom prst="rect">
            <a:avLst/>
          </a:prstGeom>
          <a:solidFill>
            <a:schemeClr val="bg1"/>
          </a:solidFill>
          <a:ln w="31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chemeClr val="accent2"/>
                </a:solidFill>
                <a:effectLst/>
                <a:uLnTx/>
                <a:uFillTx/>
              </a:rPr>
              <a:t>Web App</a:t>
            </a:r>
          </a:p>
        </p:txBody>
      </p:sp>
      <p:sp>
        <p:nvSpPr>
          <p:cNvPr id="190" name="Rectangle 189"/>
          <p:cNvSpPr/>
          <p:nvPr>
            <p:custDataLst>
              <p:tags r:id="rId20"/>
            </p:custDataLst>
          </p:nvPr>
        </p:nvSpPr>
        <p:spPr>
          <a:xfrm>
            <a:off x="8847378" y="2470983"/>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Excel</a:t>
            </a:r>
          </a:p>
        </p:txBody>
      </p:sp>
      <p:sp>
        <p:nvSpPr>
          <p:cNvPr id="191" name="Rectangle 190"/>
          <p:cNvSpPr/>
          <p:nvPr>
            <p:custDataLst>
              <p:tags r:id="rId21"/>
            </p:custDataLst>
          </p:nvPr>
        </p:nvSpPr>
        <p:spPr>
          <a:xfrm>
            <a:off x="9555754" y="2470984"/>
            <a:ext cx="660194" cy="259774"/>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17928" tIns="25212" rIns="0"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erceptual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Intelligence</a:t>
            </a:r>
          </a:p>
        </p:txBody>
      </p:sp>
      <p:sp>
        <p:nvSpPr>
          <p:cNvPr id="192" name="Rectangle 191"/>
          <p:cNvSpPr/>
          <p:nvPr>
            <p:custDataLst>
              <p:tags r:id="rId22"/>
            </p:custDataLst>
          </p:nvPr>
        </p:nvSpPr>
        <p:spPr>
          <a:xfrm>
            <a:off x="8791508" y="2846701"/>
            <a:ext cx="2055966" cy="371523"/>
          </a:xfrm>
          <a:prstGeom prst="rect">
            <a:avLst/>
          </a:prstGeom>
          <a:solidFill>
            <a:srgbClr val="7F7F7F"/>
          </a:solidFill>
          <a:ln w="12700">
            <a:solidFill>
              <a:srgbClr val="7F7F7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solidFill>
                <a:effectLst/>
                <a:uLnTx/>
                <a:uFillTx/>
                <a:latin typeface="Segoe UI Semibold" panose="020B0702040204020203" pitchFamily="34" charset="0"/>
                <a:cs typeface="Segoe UI Semibold" panose="020B0702040204020203" pitchFamily="34" charset="0"/>
              </a:rPr>
              <a:t>Hadoop Interface</a:t>
            </a:r>
          </a:p>
        </p:txBody>
      </p:sp>
      <p:sp>
        <p:nvSpPr>
          <p:cNvPr id="193" name="Rectangle 192"/>
          <p:cNvSpPr/>
          <p:nvPr>
            <p:custDataLst>
              <p:tags r:id="rId23"/>
            </p:custDataLst>
          </p:nvPr>
        </p:nvSpPr>
        <p:spPr>
          <a:xfrm>
            <a:off x="8791508" y="3306296"/>
            <a:ext cx="2064654" cy="681292"/>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utomated Systems</a:t>
            </a:r>
          </a:p>
        </p:txBody>
      </p:sp>
      <p:sp>
        <p:nvSpPr>
          <p:cNvPr id="194" name="Rectangle 193"/>
          <p:cNvSpPr/>
          <p:nvPr>
            <p:custDataLst>
              <p:tags r:id="rId24"/>
            </p:custDataLst>
          </p:nvPr>
        </p:nvSpPr>
        <p:spPr>
          <a:xfrm>
            <a:off x="8907020"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PIs</a:t>
            </a:r>
          </a:p>
        </p:txBody>
      </p:sp>
      <p:sp>
        <p:nvSpPr>
          <p:cNvPr id="195" name="Rectangle 194"/>
          <p:cNvSpPr/>
          <p:nvPr>
            <p:custDataLst>
              <p:tags r:id="rId25"/>
            </p:custDataLst>
          </p:nvPr>
        </p:nvSpPr>
        <p:spPr>
          <a:xfrm>
            <a:off x="9878495"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Business Scenarios</a:t>
            </a:r>
          </a:p>
        </p:txBody>
      </p:sp>
      <p:cxnSp>
        <p:nvCxnSpPr>
          <p:cNvPr id="196" name="Straight Arrow Connector 195"/>
          <p:cNvCxnSpPr>
            <a:cxnSpLocks/>
          </p:cNvCxnSpPr>
          <p:nvPr/>
        </p:nvCxnSpPr>
        <p:spPr>
          <a:xfrm flipV="1">
            <a:off x="5828796" y="2289747"/>
            <a:ext cx="348575" cy="207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p:cNvSpPr/>
          <p:nvPr>
            <p:custDataLst>
              <p:tags r:id="rId26"/>
            </p:custDataLst>
          </p:nvPr>
        </p:nvSpPr>
        <p:spPr>
          <a:xfrm>
            <a:off x="5801225" y="1899724"/>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ML</a:t>
            </a:r>
          </a:p>
        </p:txBody>
      </p:sp>
      <p:sp>
        <p:nvSpPr>
          <p:cNvPr id="210" name="Freeform 209"/>
          <p:cNvSpPr/>
          <p:nvPr/>
        </p:nvSpPr>
        <p:spPr>
          <a:xfrm>
            <a:off x="6223141" y="2232063"/>
            <a:ext cx="250562" cy="281785"/>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ysClr val="windowText" lastClr="000000"/>
              </a:solidFill>
              <a:effectLst/>
              <a:uLnTx/>
              <a:uFillTx/>
            </a:endParaRPr>
          </a:p>
        </p:txBody>
      </p:sp>
      <p:sp>
        <p:nvSpPr>
          <p:cNvPr id="212" name="Rectangle 211"/>
          <p:cNvSpPr/>
          <p:nvPr>
            <p:custDataLst>
              <p:tags r:id="rId27"/>
            </p:custDataLst>
          </p:nvPr>
        </p:nvSpPr>
        <p:spPr>
          <a:xfrm>
            <a:off x="5889277"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Spark</a:t>
            </a:r>
          </a:p>
        </p:txBody>
      </p:sp>
      <p:sp>
        <p:nvSpPr>
          <p:cNvPr id="213" name="Rectangle 212"/>
          <p:cNvSpPr/>
          <p:nvPr>
            <p:custDataLst>
              <p:tags r:id="rId28"/>
            </p:custDataLst>
          </p:nvPr>
        </p:nvSpPr>
        <p:spPr>
          <a:xfrm>
            <a:off x="6584729"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Pig</a:t>
            </a:r>
          </a:p>
        </p:txBody>
      </p:sp>
      <p:sp>
        <p:nvSpPr>
          <p:cNvPr id="214" name="Rectangle 213"/>
          <p:cNvSpPr/>
          <p:nvPr>
            <p:custDataLst>
              <p:tags r:id="rId29"/>
            </p:custDataLst>
          </p:nvPr>
        </p:nvSpPr>
        <p:spPr>
          <a:xfrm>
            <a:off x="5889277"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Hive</a:t>
            </a:r>
          </a:p>
        </p:txBody>
      </p:sp>
      <p:sp>
        <p:nvSpPr>
          <p:cNvPr id="215" name="Rectangle 214"/>
          <p:cNvSpPr/>
          <p:nvPr>
            <p:custDataLst>
              <p:tags r:id="rId30"/>
            </p:custDataLst>
          </p:nvPr>
        </p:nvSpPr>
        <p:spPr>
          <a:xfrm>
            <a:off x="6584729"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err="1">
                <a:ln>
                  <a:noFill/>
                </a:ln>
                <a:solidFill>
                  <a:sysClr val="windowText" lastClr="000000"/>
                </a:solidFill>
                <a:effectLst/>
                <a:uLnTx/>
                <a:uFillTx/>
              </a:rPr>
              <a:t>HBase</a:t>
            </a:r>
            <a:endParaRPr kumimoji="0" lang="en-US" sz="784" b="1" i="0" u="none" strike="noStrike" kern="0" cap="none" spc="0" normalizeH="0" baseline="0" noProof="0">
              <a:ln>
                <a:noFill/>
              </a:ln>
              <a:solidFill>
                <a:sysClr val="windowText" lastClr="000000"/>
              </a:solidFill>
              <a:effectLst/>
              <a:uLnTx/>
              <a:uFillTx/>
            </a:endParaRPr>
          </a:p>
        </p:txBody>
      </p:sp>
      <p:sp>
        <p:nvSpPr>
          <p:cNvPr id="216" name="Rectangle 215"/>
          <p:cNvSpPr/>
          <p:nvPr>
            <p:custDataLst>
              <p:tags r:id="rId31"/>
            </p:custDataLst>
          </p:nvPr>
        </p:nvSpPr>
        <p:spPr>
          <a:xfrm>
            <a:off x="5889277" y="3540899"/>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Mahout</a:t>
            </a:r>
          </a:p>
        </p:txBody>
      </p:sp>
      <p:pic>
        <p:nvPicPr>
          <p:cNvPr id="217" name="Picture 216"/>
          <p:cNvPicPr>
            <a:picLocks noChangeAspect="1"/>
          </p:cNvPicPr>
          <p:nvPr/>
        </p:nvPicPr>
        <p:blipFill rotWithShape="1">
          <a:blip r:embed="rId60" cstate="print">
            <a:extLst>
              <a:ext uri="{BEBA8EAE-BF5A-486C-A8C5-ECC9F3942E4B}">
                <a14:imgProps xmlns:a14="http://schemas.microsoft.com/office/drawing/2010/main">
                  <a14:imgLayer r:embed="rId61">
                    <a14:imgEffect>
                      <a14:brightnessContrast bright="100000"/>
                    </a14:imgEffect>
                  </a14:imgLayer>
                </a14:imgProps>
              </a:ext>
              <a:ext uri="{28A0092B-C50C-407E-A947-70E740481C1C}">
                <a14:useLocalDpi xmlns:a14="http://schemas.microsoft.com/office/drawing/2010/main" val="0"/>
              </a:ext>
            </a:extLst>
          </a:blip>
          <a:srcRect l="4948" t="24999" r="5990" b="23177"/>
          <a:stretch/>
        </p:blipFill>
        <p:spPr>
          <a:xfrm>
            <a:off x="5744947" y="5879532"/>
            <a:ext cx="412609" cy="189467"/>
          </a:xfrm>
          <a:prstGeom prst="rect">
            <a:avLst/>
          </a:prstGeom>
        </p:spPr>
      </p:pic>
      <p:pic>
        <p:nvPicPr>
          <p:cNvPr id="218" name="Picture 217"/>
          <p:cNvPicPr>
            <a:picLocks noChangeAspect="1"/>
          </p:cNvPicPr>
          <p:nvPr/>
        </p:nvPicPr>
        <p:blipFill rotWithShape="1">
          <a:blip r:embed="rId62" cstate="print">
            <a:extLst>
              <a:ext uri="{BEBA8EAE-BF5A-486C-A8C5-ECC9F3942E4B}">
                <a14:imgProps xmlns:a14="http://schemas.microsoft.com/office/drawing/2010/main">
                  <a14:imgLayer r:embed="rId63">
                    <a14:imgEffect>
                      <a14:brightnessContrast bright="100000"/>
                    </a14:imgEffect>
                  </a14:imgLayer>
                </a14:imgProps>
              </a:ext>
              <a:ext uri="{28A0092B-C50C-407E-A947-70E740481C1C}">
                <a14:useLocalDpi xmlns:a14="http://schemas.microsoft.com/office/drawing/2010/main" val="0"/>
              </a:ext>
            </a:extLst>
          </a:blip>
          <a:srcRect l="-1" r="-7500"/>
          <a:stretch/>
        </p:blipFill>
        <p:spPr>
          <a:xfrm>
            <a:off x="5560679" y="5346483"/>
            <a:ext cx="620936" cy="166380"/>
          </a:xfrm>
          <a:prstGeom prst="rect">
            <a:avLst/>
          </a:prstGeom>
        </p:spPr>
      </p:pic>
      <p:pic>
        <p:nvPicPr>
          <p:cNvPr id="219" name="Picture 218"/>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5775819" y="4742975"/>
            <a:ext cx="357326" cy="354001"/>
          </a:xfrm>
          <a:prstGeom prst="rect">
            <a:avLst/>
          </a:prstGeom>
        </p:spPr>
      </p:pic>
      <p:sp>
        <p:nvSpPr>
          <p:cNvPr id="227" name="Rectangle 226"/>
          <p:cNvSpPr/>
          <p:nvPr/>
        </p:nvSpPr>
        <p:spPr>
          <a:xfrm>
            <a:off x="3376727" y="1893046"/>
            <a:ext cx="2144108" cy="1578620"/>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b"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 </a:t>
            </a:r>
          </a:p>
        </p:txBody>
      </p:sp>
      <p:sp>
        <p:nvSpPr>
          <p:cNvPr id="228" name="Rectangle 227"/>
          <p:cNvSpPr/>
          <p:nvPr>
            <p:custDataLst>
              <p:tags r:id="rId32"/>
            </p:custDataLst>
          </p:nvPr>
        </p:nvSpPr>
        <p:spPr>
          <a:xfrm>
            <a:off x="4485669" y="2036858"/>
            <a:ext cx="954720"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SQL Data Warehouse</a:t>
            </a:r>
          </a:p>
        </p:txBody>
      </p:sp>
      <p:sp>
        <p:nvSpPr>
          <p:cNvPr id="229" name="Rectangle 228"/>
          <p:cNvSpPr/>
          <p:nvPr>
            <p:custDataLst>
              <p:tags r:id="rId33"/>
            </p:custDataLst>
          </p:nvPr>
        </p:nvSpPr>
        <p:spPr>
          <a:xfrm>
            <a:off x="3448500" y="2012523"/>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Data Lake</a:t>
            </a:r>
          </a:p>
        </p:txBody>
      </p:sp>
      <p:sp>
        <p:nvSpPr>
          <p:cNvPr id="242" name="Rectangle 241"/>
          <p:cNvSpPr/>
          <p:nvPr>
            <p:custDataLst>
              <p:tags r:id="rId34"/>
            </p:custDataLst>
          </p:nvPr>
        </p:nvSpPr>
        <p:spPr>
          <a:xfrm>
            <a:off x="4483938" y="2810738"/>
            <a:ext cx="947987" cy="522045"/>
          </a:xfrm>
          <a:prstGeom prst="rect">
            <a:avLst/>
          </a:pr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rPr>
              <a:t>HDFS</a:t>
            </a:r>
          </a:p>
        </p:txBody>
      </p:sp>
      <p:pic>
        <p:nvPicPr>
          <p:cNvPr id="243" name="Picture 242"/>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5094382" y="3012270"/>
            <a:ext cx="282537" cy="271562"/>
          </a:xfrm>
          <a:prstGeom prst="rect">
            <a:avLst/>
          </a:prstGeom>
        </p:spPr>
      </p:pic>
      <p:sp>
        <p:nvSpPr>
          <p:cNvPr id="165" name="Rectangle 164"/>
          <p:cNvSpPr/>
          <p:nvPr>
            <p:custDataLst>
              <p:tags r:id="rId35"/>
            </p:custDataLst>
          </p:nvPr>
        </p:nvSpPr>
        <p:spPr>
          <a:xfrm>
            <a:off x="347541" y="1974134"/>
            <a:ext cx="1112085" cy="1028742"/>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Databases</a:t>
            </a:r>
          </a:p>
        </p:txBody>
      </p:sp>
      <p:grpSp>
        <p:nvGrpSpPr>
          <p:cNvPr id="301" name="Group 300"/>
          <p:cNvGrpSpPr/>
          <p:nvPr/>
        </p:nvGrpSpPr>
        <p:grpSpPr>
          <a:xfrm>
            <a:off x="452213" y="2274048"/>
            <a:ext cx="913069" cy="647723"/>
            <a:chOff x="461280" y="2506069"/>
            <a:chExt cx="931378" cy="433159"/>
          </a:xfrm>
        </p:grpSpPr>
        <p:sp>
          <p:nvSpPr>
            <p:cNvPr id="223" name="Freeform 6"/>
            <p:cNvSpPr>
              <a:spLocks/>
            </p:cNvSpPr>
            <p:nvPr/>
          </p:nvSpPr>
          <p:spPr bwMode="auto">
            <a:xfrm>
              <a:off x="461280"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4" name="Freeform 8"/>
            <p:cNvSpPr>
              <a:spLocks/>
            </p:cNvSpPr>
            <p:nvPr/>
          </p:nvSpPr>
          <p:spPr bwMode="auto">
            <a:xfrm>
              <a:off x="461280"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5" name="Freeform 9"/>
            <p:cNvSpPr>
              <a:spLocks/>
            </p:cNvSpPr>
            <p:nvPr/>
          </p:nvSpPr>
          <p:spPr bwMode="auto">
            <a:xfrm>
              <a:off x="486559"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6" name="Freeform 10"/>
            <p:cNvSpPr>
              <a:spLocks/>
            </p:cNvSpPr>
            <p:nvPr/>
          </p:nvSpPr>
          <p:spPr bwMode="auto">
            <a:xfrm>
              <a:off x="486559"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4" name="Freeform 6"/>
            <p:cNvSpPr>
              <a:spLocks/>
            </p:cNvSpPr>
            <p:nvPr/>
          </p:nvSpPr>
          <p:spPr bwMode="auto">
            <a:xfrm>
              <a:off x="804794"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5" name="Freeform 8"/>
            <p:cNvSpPr>
              <a:spLocks/>
            </p:cNvSpPr>
            <p:nvPr/>
          </p:nvSpPr>
          <p:spPr bwMode="auto">
            <a:xfrm>
              <a:off x="804794"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6" name="Freeform 9"/>
            <p:cNvSpPr>
              <a:spLocks/>
            </p:cNvSpPr>
            <p:nvPr/>
          </p:nvSpPr>
          <p:spPr bwMode="auto">
            <a:xfrm>
              <a:off x="830072"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7" name="Freeform 10"/>
            <p:cNvSpPr>
              <a:spLocks/>
            </p:cNvSpPr>
            <p:nvPr/>
          </p:nvSpPr>
          <p:spPr bwMode="auto">
            <a:xfrm>
              <a:off x="830072"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8" name="Freeform 6"/>
            <p:cNvSpPr>
              <a:spLocks/>
            </p:cNvSpPr>
            <p:nvPr/>
          </p:nvSpPr>
          <p:spPr bwMode="auto">
            <a:xfrm>
              <a:off x="1148308"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9" name="Freeform 8"/>
            <p:cNvSpPr>
              <a:spLocks/>
            </p:cNvSpPr>
            <p:nvPr/>
          </p:nvSpPr>
          <p:spPr bwMode="auto">
            <a:xfrm>
              <a:off x="1148308"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0" name="Freeform 9"/>
            <p:cNvSpPr>
              <a:spLocks/>
            </p:cNvSpPr>
            <p:nvPr/>
          </p:nvSpPr>
          <p:spPr bwMode="auto">
            <a:xfrm>
              <a:off x="1173586"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1" name="Freeform 10"/>
            <p:cNvSpPr>
              <a:spLocks/>
            </p:cNvSpPr>
            <p:nvPr/>
          </p:nvSpPr>
          <p:spPr bwMode="auto">
            <a:xfrm>
              <a:off x="1173586"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2" name="Freeform 6"/>
            <p:cNvSpPr>
              <a:spLocks/>
            </p:cNvSpPr>
            <p:nvPr/>
          </p:nvSpPr>
          <p:spPr bwMode="auto">
            <a:xfrm>
              <a:off x="461280"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3" name="Freeform 8"/>
            <p:cNvSpPr>
              <a:spLocks/>
            </p:cNvSpPr>
            <p:nvPr/>
          </p:nvSpPr>
          <p:spPr bwMode="auto">
            <a:xfrm>
              <a:off x="461280"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4" name="Freeform 9"/>
            <p:cNvSpPr>
              <a:spLocks/>
            </p:cNvSpPr>
            <p:nvPr/>
          </p:nvSpPr>
          <p:spPr bwMode="auto">
            <a:xfrm>
              <a:off x="486559"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5" name="Freeform 10"/>
            <p:cNvSpPr>
              <a:spLocks/>
            </p:cNvSpPr>
            <p:nvPr/>
          </p:nvSpPr>
          <p:spPr bwMode="auto">
            <a:xfrm>
              <a:off x="486559"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6" name="Freeform 6"/>
            <p:cNvSpPr>
              <a:spLocks/>
            </p:cNvSpPr>
            <p:nvPr/>
          </p:nvSpPr>
          <p:spPr bwMode="auto">
            <a:xfrm>
              <a:off x="804794"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7" name="Freeform 8"/>
            <p:cNvSpPr>
              <a:spLocks/>
            </p:cNvSpPr>
            <p:nvPr/>
          </p:nvSpPr>
          <p:spPr bwMode="auto">
            <a:xfrm>
              <a:off x="804794"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8" name="Freeform 9"/>
            <p:cNvSpPr>
              <a:spLocks/>
            </p:cNvSpPr>
            <p:nvPr/>
          </p:nvSpPr>
          <p:spPr bwMode="auto">
            <a:xfrm>
              <a:off x="830072"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9" name="Freeform 10"/>
            <p:cNvSpPr>
              <a:spLocks/>
            </p:cNvSpPr>
            <p:nvPr/>
          </p:nvSpPr>
          <p:spPr bwMode="auto">
            <a:xfrm>
              <a:off x="830072"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0" name="Freeform 6"/>
            <p:cNvSpPr>
              <a:spLocks/>
            </p:cNvSpPr>
            <p:nvPr/>
          </p:nvSpPr>
          <p:spPr bwMode="auto">
            <a:xfrm>
              <a:off x="1148308"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1" name="Freeform 8"/>
            <p:cNvSpPr>
              <a:spLocks/>
            </p:cNvSpPr>
            <p:nvPr/>
          </p:nvSpPr>
          <p:spPr bwMode="auto">
            <a:xfrm>
              <a:off x="1148308"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2" name="Freeform 9"/>
            <p:cNvSpPr>
              <a:spLocks/>
            </p:cNvSpPr>
            <p:nvPr/>
          </p:nvSpPr>
          <p:spPr bwMode="auto">
            <a:xfrm>
              <a:off x="1173586"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3" name="Freeform 10"/>
            <p:cNvSpPr>
              <a:spLocks/>
            </p:cNvSpPr>
            <p:nvPr/>
          </p:nvSpPr>
          <p:spPr bwMode="auto">
            <a:xfrm>
              <a:off x="1173586"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grpSp>
      <p:sp>
        <p:nvSpPr>
          <p:cNvPr id="278" name="Rectangle 277"/>
          <p:cNvSpPr/>
          <p:nvPr>
            <p:custDataLst>
              <p:tags r:id="rId36"/>
            </p:custDataLst>
          </p:nvPr>
        </p:nvSpPr>
        <p:spPr>
          <a:xfrm>
            <a:off x="331091" y="4639636"/>
            <a:ext cx="1117445" cy="1497939"/>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Big Data Sources</a:t>
            </a:r>
          </a:p>
        </p:txBody>
      </p:sp>
      <p:sp>
        <p:nvSpPr>
          <p:cNvPr id="280" name="Rectangle 279"/>
          <p:cNvSpPr/>
          <p:nvPr>
            <p:custDataLst>
              <p:tags r:id="rId37"/>
            </p:custDataLst>
          </p:nvPr>
        </p:nvSpPr>
        <p:spPr>
          <a:xfrm>
            <a:off x="430201" y="499242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Devices</a:t>
            </a:r>
          </a:p>
        </p:txBody>
      </p:sp>
      <p:sp>
        <p:nvSpPr>
          <p:cNvPr id="281" name="Rectangle 280"/>
          <p:cNvSpPr/>
          <p:nvPr>
            <p:custDataLst>
              <p:tags r:id="rId38"/>
            </p:custDataLst>
          </p:nvPr>
        </p:nvSpPr>
        <p:spPr>
          <a:xfrm>
            <a:off x="430201" y="526454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Crawlers</a:t>
            </a:r>
          </a:p>
        </p:txBody>
      </p:sp>
      <p:sp>
        <p:nvSpPr>
          <p:cNvPr id="282" name="Rectangle 281"/>
          <p:cNvSpPr/>
          <p:nvPr>
            <p:custDataLst>
              <p:tags r:id="rId39"/>
            </p:custDataLst>
          </p:nvPr>
        </p:nvSpPr>
        <p:spPr>
          <a:xfrm>
            <a:off x="430201" y="553666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Bots</a:t>
            </a:r>
          </a:p>
        </p:txBody>
      </p:sp>
      <p:sp>
        <p:nvSpPr>
          <p:cNvPr id="283" name="Rectangle 282"/>
          <p:cNvSpPr/>
          <p:nvPr>
            <p:custDataLst>
              <p:tags r:id="rId40"/>
            </p:custDataLst>
          </p:nvPr>
        </p:nvSpPr>
        <p:spPr>
          <a:xfrm>
            <a:off x="430201" y="5808781"/>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Sensors</a:t>
            </a:r>
          </a:p>
        </p:txBody>
      </p:sp>
      <p:sp>
        <p:nvSpPr>
          <p:cNvPr id="284" name="Rectangle 283"/>
          <p:cNvSpPr/>
          <p:nvPr>
            <p:custDataLst>
              <p:tags r:id="rId41"/>
            </p:custDataLst>
          </p:nvPr>
        </p:nvSpPr>
        <p:spPr>
          <a:xfrm>
            <a:off x="1702667" y="4579740"/>
            <a:ext cx="868934" cy="78815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Event Hub</a:t>
            </a:r>
          </a:p>
        </p:txBody>
      </p:sp>
      <p:grpSp>
        <p:nvGrpSpPr>
          <p:cNvPr id="285" name="Group 284"/>
          <p:cNvGrpSpPr/>
          <p:nvPr/>
        </p:nvGrpSpPr>
        <p:grpSpPr>
          <a:xfrm>
            <a:off x="2161898" y="5445222"/>
            <a:ext cx="312190" cy="275695"/>
            <a:chOff x="3889804" y="5487538"/>
            <a:chExt cx="981581" cy="1503220"/>
          </a:xfrm>
        </p:grpSpPr>
        <p:grpSp>
          <p:nvGrpSpPr>
            <p:cNvPr id="286" name="Group 285"/>
            <p:cNvGrpSpPr/>
            <p:nvPr/>
          </p:nvGrpSpPr>
          <p:grpSpPr>
            <a:xfrm>
              <a:off x="4088812" y="5729791"/>
              <a:ext cx="640699" cy="978963"/>
              <a:chOff x="3994659" y="7008702"/>
              <a:chExt cx="745465" cy="1374671"/>
            </a:xfrm>
          </p:grpSpPr>
          <p:sp>
            <p:nvSpPr>
              <p:cNvPr id="289" name="Rectangle 288"/>
              <p:cNvSpPr/>
              <p:nvPr>
                <p:custDataLst>
                  <p:tags r:id="rId50"/>
                </p:custDataLst>
              </p:nvPr>
            </p:nvSpPr>
            <p:spPr bwMode="auto">
              <a:xfrm>
                <a:off x="3994660" y="7008702"/>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0" name="Rectangle 289"/>
              <p:cNvSpPr/>
              <p:nvPr>
                <p:custDataLst>
                  <p:tags r:id="rId51"/>
                </p:custDataLst>
              </p:nvPr>
            </p:nvSpPr>
            <p:spPr bwMode="auto">
              <a:xfrm>
                <a:off x="4285367" y="7262718"/>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1" name="Rectangle 290"/>
              <p:cNvSpPr/>
              <p:nvPr>
                <p:custDataLst>
                  <p:tags r:id="rId52"/>
                </p:custDataLst>
              </p:nvPr>
            </p:nvSpPr>
            <p:spPr bwMode="auto">
              <a:xfrm>
                <a:off x="3994660" y="7513156"/>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2" name="Rectangle 291"/>
              <p:cNvSpPr/>
              <p:nvPr>
                <p:custDataLst>
                  <p:tags r:id="rId53"/>
                </p:custDataLst>
              </p:nvPr>
            </p:nvSpPr>
            <p:spPr bwMode="auto">
              <a:xfrm>
                <a:off x="4285367" y="7799834"/>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3" name="Rectangle 292"/>
              <p:cNvSpPr/>
              <p:nvPr>
                <p:custDataLst>
                  <p:tags r:id="rId54"/>
                </p:custDataLst>
              </p:nvPr>
            </p:nvSpPr>
            <p:spPr bwMode="auto">
              <a:xfrm>
                <a:off x="3994659" y="8017615"/>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4" name="Rectangle 293"/>
              <p:cNvSpPr/>
              <p:nvPr>
                <p:custDataLst>
                  <p:tags r:id="rId55"/>
                </p:custDataLst>
              </p:nvPr>
            </p:nvSpPr>
            <p:spPr bwMode="auto">
              <a:xfrm>
                <a:off x="4557245" y="7511743"/>
                <a:ext cx="182879"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grpSp>
        <p:sp>
          <p:nvSpPr>
            <p:cNvPr id="287" name="Freeform 286"/>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88" name="Freeform 28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sp>
        <p:nvSpPr>
          <p:cNvPr id="203" name="Rounded Rectangle 202"/>
          <p:cNvSpPr/>
          <p:nvPr/>
        </p:nvSpPr>
        <p:spPr bwMode="auto">
          <a:xfrm>
            <a:off x="10593656" y="4648819"/>
            <a:ext cx="34903" cy="79064"/>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4" name="Rounded Rectangle 203"/>
          <p:cNvSpPr/>
          <p:nvPr/>
        </p:nvSpPr>
        <p:spPr bwMode="auto">
          <a:xfrm>
            <a:off x="10549618" y="4607963"/>
            <a:ext cx="34903" cy="10896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5" name="Rounded Rectangle 204"/>
          <p:cNvSpPr/>
          <p:nvPr/>
        </p:nvSpPr>
        <p:spPr bwMode="auto">
          <a:xfrm>
            <a:off x="10501491" y="4553667"/>
            <a:ext cx="34903" cy="14817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6" name="Rounded Rectangle 205"/>
          <p:cNvSpPr/>
          <p:nvPr/>
        </p:nvSpPr>
        <p:spPr bwMode="auto">
          <a:xfrm>
            <a:off x="10457740" y="4508253"/>
            <a:ext cx="34903" cy="18300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7" name="Freeform 206"/>
          <p:cNvSpPr/>
          <p:nvPr/>
        </p:nvSpPr>
        <p:spPr bwMode="auto">
          <a:xfrm>
            <a:off x="10426760" y="4478162"/>
            <a:ext cx="261169" cy="252679"/>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5875"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endParaRPr>
          </a:p>
        </p:txBody>
      </p:sp>
      <p:pic>
        <p:nvPicPr>
          <p:cNvPr id="208" name="Picture 207"/>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10369472" y="5495722"/>
            <a:ext cx="398210" cy="383994"/>
          </a:xfrm>
          <a:prstGeom prst="rect">
            <a:avLst/>
          </a:prstGeom>
        </p:spPr>
      </p:pic>
      <p:sp>
        <p:nvSpPr>
          <p:cNvPr id="296" name="Oval 295"/>
          <p:cNvSpPr/>
          <p:nvPr/>
        </p:nvSpPr>
        <p:spPr>
          <a:xfrm>
            <a:off x="10399640" y="4987527"/>
            <a:ext cx="286733" cy="277038"/>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97" name="Freeform 296"/>
          <p:cNvSpPr/>
          <p:nvPr/>
        </p:nvSpPr>
        <p:spPr>
          <a:xfrm>
            <a:off x="10412720" y="4999880"/>
            <a:ext cx="286733" cy="277038"/>
          </a:xfrm>
          <a:custGeom>
            <a:avLst/>
            <a:gdLst>
              <a:gd name="connsiteX0" fmla="*/ 268152 w 914402"/>
              <a:gd name="connsiteY0" fmla="*/ 572297 h 916192"/>
              <a:gd name="connsiteX1" fmla="*/ 271114 w 914402"/>
              <a:gd name="connsiteY1" fmla="*/ 575279 h 916192"/>
              <a:gd name="connsiteX2" fmla="*/ 389682 w 914402"/>
              <a:gd name="connsiteY2" fmla="*/ 668980 h 916192"/>
              <a:gd name="connsiteX3" fmla="*/ 392199 w 914402"/>
              <a:gd name="connsiteY3" fmla="*/ 670548 h 916192"/>
              <a:gd name="connsiteX4" fmla="*/ 391581 w 914402"/>
              <a:gd name="connsiteY4" fmla="*/ 672439 h 916192"/>
              <a:gd name="connsiteX5" fmla="*/ 386619 w 914402"/>
              <a:gd name="connsiteY5" fmla="*/ 709128 h 916192"/>
              <a:gd name="connsiteX6" fmla="*/ 496985 w 914402"/>
              <a:gd name="connsiteY6" fmla="*/ 832508 h 916192"/>
              <a:gd name="connsiteX7" fmla="*/ 588503 w 914402"/>
              <a:gd name="connsiteY7" fmla="*/ 778111 h 916192"/>
              <a:gd name="connsiteX8" fmla="*/ 593389 w 914402"/>
              <a:gd name="connsiteY8" fmla="*/ 769120 h 916192"/>
              <a:gd name="connsiteX9" fmla="*/ 610229 w 914402"/>
              <a:gd name="connsiteY9" fmla="*/ 775190 h 916192"/>
              <a:gd name="connsiteX10" fmla="*/ 701502 w 914402"/>
              <a:gd name="connsiteY10" fmla="*/ 802564 h 916192"/>
              <a:gd name="connsiteX11" fmla="*/ 744121 w 914402"/>
              <a:gd name="connsiteY11" fmla="*/ 812086 h 916192"/>
              <a:gd name="connsiteX12" fmla="*/ 712827 w 914402"/>
              <a:gd name="connsiteY12" fmla="*/ 837956 h 916192"/>
              <a:gd name="connsiteX13" fmla="*/ 457201 w 914402"/>
              <a:gd name="connsiteY13" fmla="*/ 916192 h 916192"/>
              <a:gd name="connsiteX14" fmla="*/ 201576 w 914402"/>
              <a:gd name="connsiteY14" fmla="*/ 837956 h 916192"/>
              <a:gd name="connsiteX15" fmla="*/ 143469 w 914402"/>
              <a:gd name="connsiteY15" fmla="*/ 789920 h 916192"/>
              <a:gd name="connsiteX16" fmla="*/ 145668 w 914402"/>
              <a:gd name="connsiteY16" fmla="*/ 708199 h 916192"/>
              <a:gd name="connsiteX17" fmla="*/ 165927 w 914402"/>
              <a:gd name="connsiteY17" fmla="*/ 600670 h 916192"/>
              <a:gd name="connsiteX18" fmla="*/ 166549 w 914402"/>
              <a:gd name="connsiteY18" fmla="*/ 598577 h 916192"/>
              <a:gd name="connsiteX19" fmla="*/ 182545 w 914402"/>
              <a:gd name="connsiteY19" fmla="*/ 599480 h 916192"/>
              <a:gd name="connsiteX20" fmla="*/ 260700 w 914402"/>
              <a:gd name="connsiteY20" fmla="*/ 577357 h 916192"/>
              <a:gd name="connsiteX21" fmla="*/ 63611 w 914402"/>
              <a:gd name="connsiteY21" fmla="*/ 228686 h 916192"/>
              <a:gd name="connsiteX22" fmla="*/ 70596 w 914402"/>
              <a:gd name="connsiteY22" fmla="*/ 252365 h 916192"/>
              <a:gd name="connsiteX23" fmla="*/ 78485 w 914402"/>
              <a:gd name="connsiteY23" fmla="*/ 274543 h 916192"/>
              <a:gd name="connsiteX24" fmla="*/ 78248 w 914402"/>
              <a:gd name="connsiteY24" fmla="*/ 274742 h 916192"/>
              <a:gd name="connsiteX25" fmla="*/ 18580 w 914402"/>
              <a:gd name="connsiteY25" fmla="*/ 416182 h 916192"/>
              <a:gd name="connsiteX26" fmla="*/ 78248 w 914402"/>
              <a:gd name="connsiteY26" fmla="*/ 557624 h 916192"/>
              <a:gd name="connsiteX27" fmla="*/ 81178 w 914402"/>
              <a:gd name="connsiteY27" fmla="*/ 560073 h 916192"/>
              <a:gd name="connsiteX28" fmla="*/ 73227 w 914402"/>
              <a:gd name="connsiteY28" fmla="*/ 584530 h 916192"/>
              <a:gd name="connsiteX29" fmla="*/ 58098 w 914402"/>
              <a:gd name="connsiteY29" fmla="*/ 640404 h 916192"/>
              <a:gd name="connsiteX30" fmla="*/ 52384 w 914402"/>
              <a:gd name="connsiteY30" fmla="*/ 666782 h 916192"/>
              <a:gd name="connsiteX31" fmla="*/ 35929 w 914402"/>
              <a:gd name="connsiteY31" fmla="*/ 636408 h 916192"/>
              <a:gd name="connsiteX32" fmla="*/ 0 w 914402"/>
              <a:gd name="connsiteY32" fmla="*/ 458096 h 916192"/>
              <a:gd name="connsiteX33" fmla="*/ 35929 w 914402"/>
              <a:gd name="connsiteY33" fmla="*/ 279785 h 916192"/>
              <a:gd name="connsiteX34" fmla="*/ 487916 w 914402"/>
              <a:gd name="connsiteY34" fmla="*/ 194477 h 916192"/>
              <a:gd name="connsiteX35" fmla="*/ 515467 w 914402"/>
              <a:gd name="connsiteY35" fmla="*/ 224175 h 916192"/>
              <a:gd name="connsiteX36" fmla="*/ 619347 w 914402"/>
              <a:gd name="connsiteY36" fmla="*/ 331872 h 916192"/>
              <a:gd name="connsiteX37" fmla="*/ 659831 w 914402"/>
              <a:gd name="connsiteY37" fmla="*/ 372196 h 916192"/>
              <a:gd name="connsiteX38" fmla="*/ 656558 w 914402"/>
              <a:gd name="connsiteY38" fmla="*/ 378219 h 916192"/>
              <a:gd name="connsiteX39" fmla="*/ 642247 w 914402"/>
              <a:gd name="connsiteY39" fmla="*/ 441401 h 916192"/>
              <a:gd name="connsiteX40" fmla="*/ 760818 w 914402"/>
              <a:gd name="connsiteY40" fmla="*/ 573952 h 916192"/>
              <a:gd name="connsiteX41" fmla="*/ 827112 w 914402"/>
              <a:gd name="connsiteY41" fmla="*/ 551315 h 916192"/>
              <a:gd name="connsiteX42" fmla="*/ 835079 w 914402"/>
              <a:gd name="connsiteY42" fmla="*/ 544655 h 916192"/>
              <a:gd name="connsiteX43" fmla="*/ 890183 w 914402"/>
              <a:gd name="connsiteY43" fmla="*/ 598612 h 916192"/>
              <a:gd name="connsiteX44" fmla="*/ 878473 w 914402"/>
              <a:gd name="connsiteY44" fmla="*/ 636408 h 916192"/>
              <a:gd name="connsiteX45" fmla="*/ 836319 w 914402"/>
              <a:gd name="connsiteY45" fmla="*/ 714222 h 916192"/>
              <a:gd name="connsiteX46" fmla="*/ 826204 w 914402"/>
              <a:gd name="connsiteY46" fmla="*/ 726506 h 916192"/>
              <a:gd name="connsiteX47" fmla="*/ 733097 w 914402"/>
              <a:gd name="connsiteY47" fmla="*/ 716211 h 916192"/>
              <a:gd name="connsiteX48" fmla="*/ 613764 w 914402"/>
              <a:gd name="connsiteY48" fmla="*/ 686278 h 916192"/>
              <a:gd name="connsiteX49" fmla="*/ 604847 w 914402"/>
              <a:gd name="connsiteY49" fmla="*/ 683124 h 916192"/>
              <a:gd name="connsiteX50" fmla="*/ 602390 w 914402"/>
              <a:gd name="connsiteY50" fmla="*/ 672439 h 916192"/>
              <a:gd name="connsiteX51" fmla="*/ 496985 w 914402"/>
              <a:gd name="connsiteY51" fmla="*/ 585748 h 916192"/>
              <a:gd name="connsiteX52" fmla="*/ 444378 w 914402"/>
              <a:gd name="connsiteY52" fmla="*/ 600640 h 916192"/>
              <a:gd name="connsiteX53" fmla="*/ 440149 w 914402"/>
              <a:gd name="connsiteY53" fmla="*/ 603512 h 916192"/>
              <a:gd name="connsiteX54" fmla="*/ 431572 w 914402"/>
              <a:gd name="connsiteY54" fmla="*/ 598066 h 916192"/>
              <a:gd name="connsiteX55" fmla="*/ 327436 w 914402"/>
              <a:gd name="connsiteY55" fmla="*/ 513229 h 916192"/>
              <a:gd name="connsiteX56" fmla="*/ 323610 w 914402"/>
              <a:gd name="connsiteY56" fmla="*/ 509277 h 916192"/>
              <a:gd name="connsiteX57" fmla="*/ 326720 w 914402"/>
              <a:gd name="connsiteY57" fmla="*/ 503553 h 916192"/>
              <a:gd name="connsiteX58" fmla="*/ 346510 w 914402"/>
              <a:gd name="connsiteY58" fmla="*/ 416182 h 916192"/>
              <a:gd name="connsiteX59" fmla="*/ 326720 w 914402"/>
              <a:gd name="connsiteY59" fmla="*/ 328812 h 916192"/>
              <a:gd name="connsiteX60" fmla="*/ 324187 w 914402"/>
              <a:gd name="connsiteY60" fmla="*/ 324151 h 916192"/>
              <a:gd name="connsiteX61" fmla="*/ 335299 w 914402"/>
              <a:gd name="connsiteY61" fmla="*/ 312285 h 916192"/>
              <a:gd name="connsiteX62" fmla="*/ 471316 w 914402"/>
              <a:gd name="connsiteY62" fmla="*/ 204389 h 916192"/>
              <a:gd name="connsiteX63" fmla="*/ 737224 w 914402"/>
              <a:gd name="connsiteY63" fmla="*/ 98405 h 916192"/>
              <a:gd name="connsiteX64" fmla="*/ 780491 w 914402"/>
              <a:gd name="connsiteY64" fmla="*/ 134174 h 916192"/>
              <a:gd name="connsiteX65" fmla="*/ 914402 w 914402"/>
              <a:gd name="connsiteY65" fmla="*/ 458096 h 916192"/>
              <a:gd name="connsiteX66" fmla="*/ 910497 w 914402"/>
              <a:gd name="connsiteY66" fmla="*/ 496909 h 916192"/>
              <a:gd name="connsiteX67" fmla="*/ 879177 w 914402"/>
              <a:gd name="connsiteY67" fmla="*/ 471323 h 916192"/>
              <a:gd name="connsiteX68" fmla="*/ 876724 w 914402"/>
              <a:gd name="connsiteY68" fmla="*/ 469226 h 916192"/>
              <a:gd name="connsiteX69" fmla="*/ 876980 w 914402"/>
              <a:gd name="connsiteY69" fmla="*/ 468115 h 916192"/>
              <a:gd name="connsiteX70" fmla="*/ 879389 w 914402"/>
              <a:gd name="connsiteY70" fmla="*/ 441401 h 916192"/>
              <a:gd name="connsiteX71" fmla="*/ 760818 w 914402"/>
              <a:gd name="connsiteY71" fmla="*/ 308850 h 916192"/>
              <a:gd name="connsiteX72" fmla="*/ 714665 w 914402"/>
              <a:gd name="connsiteY72" fmla="*/ 319266 h 916192"/>
              <a:gd name="connsiteX73" fmla="*/ 712882 w 914402"/>
              <a:gd name="connsiteY73" fmla="*/ 320226 h 916192"/>
              <a:gd name="connsiteX74" fmla="*/ 710889 w 914402"/>
              <a:gd name="connsiteY74" fmla="*/ 318300 h 916192"/>
              <a:gd name="connsiteX75" fmla="*/ 632541 w 914402"/>
              <a:gd name="connsiteY75" fmla="*/ 238604 h 916192"/>
              <a:gd name="connsiteX76" fmla="*/ 557237 w 914402"/>
              <a:gd name="connsiteY76" fmla="*/ 157439 h 916192"/>
              <a:gd name="connsiteX77" fmla="*/ 565298 w 914402"/>
              <a:gd name="connsiteY77" fmla="*/ 153516 h 916192"/>
              <a:gd name="connsiteX78" fmla="*/ 695707 w 914402"/>
              <a:gd name="connsiteY78" fmla="*/ 106746 h 916192"/>
              <a:gd name="connsiteX79" fmla="*/ 334330 w 914402"/>
              <a:gd name="connsiteY79" fmla="*/ 18865 h 916192"/>
              <a:gd name="connsiteX80" fmla="*/ 392503 w 914402"/>
              <a:gd name="connsiteY80" fmla="*/ 87910 h 916192"/>
              <a:gd name="connsiteX81" fmla="*/ 411939 w 914402"/>
              <a:gd name="connsiteY81" fmla="*/ 110067 h 916192"/>
              <a:gd name="connsiteX82" fmla="*/ 393920 w 914402"/>
              <a:gd name="connsiteY82" fmla="*/ 122200 h 916192"/>
              <a:gd name="connsiteX83" fmla="*/ 268021 w 914402"/>
              <a:gd name="connsiteY83" fmla="*/ 233925 h 916192"/>
              <a:gd name="connsiteX84" fmla="*/ 253100 w 914402"/>
              <a:gd name="connsiteY84" fmla="*/ 250915 h 916192"/>
              <a:gd name="connsiteX85" fmla="*/ 246367 w 914402"/>
              <a:gd name="connsiteY85" fmla="*/ 247289 h 916192"/>
              <a:gd name="connsiteX86" fmla="*/ 182545 w 914402"/>
              <a:gd name="connsiteY86" fmla="*/ 232885 h 916192"/>
              <a:gd name="connsiteX87" fmla="*/ 149501 w 914402"/>
              <a:gd name="connsiteY87" fmla="*/ 236609 h 916192"/>
              <a:gd name="connsiteX88" fmla="*/ 147176 w 914402"/>
              <a:gd name="connsiteY88" fmla="*/ 237277 h 916192"/>
              <a:gd name="connsiteX89" fmla="*/ 136136 w 914402"/>
              <a:gd name="connsiteY89" fmla="*/ 209315 h 916192"/>
              <a:gd name="connsiteX90" fmla="*/ 117804 w 914402"/>
              <a:gd name="connsiteY90" fmla="*/ 153735 h 916192"/>
              <a:gd name="connsiteX91" fmla="*/ 133911 w 914402"/>
              <a:gd name="connsiteY91" fmla="*/ 134174 h 916192"/>
              <a:gd name="connsiteX92" fmla="*/ 279238 w 914402"/>
              <a:gd name="connsiteY92" fmla="*/ 36000 h 916192"/>
              <a:gd name="connsiteX93" fmla="*/ 457201 w 914402"/>
              <a:gd name="connsiteY93" fmla="*/ 0 h 916192"/>
              <a:gd name="connsiteX94" fmla="*/ 549343 w 914402"/>
              <a:gd name="connsiteY94" fmla="*/ 9307 h 916192"/>
              <a:gd name="connsiteX95" fmla="*/ 589460 w 914402"/>
              <a:gd name="connsiteY95" fmla="*/ 21784 h 916192"/>
              <a:gd name="connsiteX96" fmla="*/ 517229 w 914402"/>
              <a:gd name="connsiteY96" fmla="*/ 49233 h 916192"/>
              <a:gd name="connsiteX97" fmla="*/ 478806 w 914402"/>
              <a:gd name="connsiteY97" fmla="*/ 69160 h 916192"/>
              <a:gd name="connsiteX98" fmla="*/ 422099 w 914402"/>
              <a:gd name="connsiteY98" fmla="*/ 3546 h 91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4402" h="916192">
                <a:moveTo>
                  <a:pt x="268152" y="572297"/>
                </a:moveTo>
                <a:lnTo>
                  <a:pt x="271114" y="575279"/>
                </a:lnTo>
                <a:cubicBezTo>
                  <a:pt x="308569" y="611124"/>
                  <a:pt x="348514" y="642135"/>
                  <a:pt x="389682" y="668980"/>
                </a:cubicBezTo>
                <a:lnTo>
                  <a:pt x="392199" y="670548"/>
                </a:lnTo>
                <a:lnTo>
                  <a:pt x="391581" y="672439"/>
                </a:lnTo>
                <a:cubicBezTo>
                  <a:pt x="388355" y="684029"/>
                  <a:pt x="386619" y="696352"/>
                  <a:pt x="386619" y="709128"/>
                </a:cubicBezTo>
                <a:cubicBezTo>
                  <a:pt x="386619" y="777269"/>
                  <a:pt x="436031" y="832508"/>
                  <a:pt x="496985" y="832508"/>
                </a:cubicBezTo>
                <a:cubicBezTo>
                  <a:pt x="535081" y="832508"/>
                  <a:pt x="568669" y="810930"/>
                  <a:pt x="588503" y="778111"/>
                </a:cubicBezTo>
                <a:lnTo>
                  <a:pt x="593389" y="769120"/>
                </a:lnTo>
                <a:lnTo>
                  <a:pt x="610229" y="775190"/>
                </a:lnTo>
                <a:cubicBezTo>
                  <a:pt x="641394" y="785911"/>
                  <a:pt x="671997" y="794942"/>
                  <a:pt x="701502" y="802564"/>
                </a:cubicBezTo>
                <a:lnTo>
                  <a:pt x="744121" y="812086"/>
                </a:lnTo>
                <a:lnTo>
                  <a:pt x="712827" y="837956"/>
                </a:lnTo>
                <a:cubicBezTo>
                  <a:pt x="639857" y="887350"/>
                  <a:pt x="551891" y="916192"/>
                  <a:pt x="457201" y="916192"/>
                </a:cubicBezTo>
                <a:cubicBezTo>
                  <a:pt x="362512" y="916192"/>
                  <a:pt x="274546" y="887350"/>
                  <a:pt x="201576" y="837956"/>
                </a:cubicBezTo>
                <a:lnTo>
                  <a:pt x="143469" y="789920"/>
                </a:lnTo>
                <a:lnTo>
                  <a:pt x="145668" y="708199"/>
                </a:lnTo>
                <a:cubicBezTo>
                  <a:pt x="149718" y="670399"/>
                  <a:pt x="156609" y="634577"/>
                  <a:pt x="165927" y="600670"/>
                </a:cubicBezTo>
                <a:lnTo>
                  <a:pt x="166549" y="598577"/>
                </a:lnTo>
                <a:lnTo>
                  <a:pt x="182545" y="599480"/>
                </a:lnTo>
                <a:cubicBezTo>
                  <a:pt x="210844" y="599480"/>
                  <a:pt x="237467" y="591466"/>
                  <a:pt x="260700" y="577357"/>
                </a:cubicBezTo>
                <a:close/>
                <a:moveTo>
                  <a:pt x="63611" y="228686"/>
                </a:moveTo>
                <a:lnTo>
                  <a:pt x="70596" y="252365"/>
                </a:lnTo>
                <a:lnTo>
                  <a:pt x="78485" y="274543"/>
                </a:lnTo>
                <a:lnTo>
                  <a:pt x="78248" y="274742"/>
                </a:lnTo>
                <a:cubicBezTo>
                  <a:pt x="41808" y="308360"/>
                  <a:pt x="18580" y="359240"/>
                  <a:pt x="18580" y="416182"/>
                </a:cubicBezTo>
                <a:cubicBezTo>
                  <a:pt x="18580" y="473126"/>
                  <a:pt x="41807" y="524005"/>
                  <a:pt x="78248" y="557624"/>
                </a:cubicBezTo>
                <a:lnTo>
                  <a:pt x="81178" y="560073"/>
                </a:lnTo>
                <a:lnTo>
                  <a:pt x="73227" y="584530"/>
                </a:lnTo>
                <a:cubicBezTo>
                  <a:pt x="67189" y="604563"/>
                  <a:pt x="62212" y="623311"/>
                  <a:pt x="58098" y="640404"/>
                </a:cubicBezTo>
                <a:lnTo>
                  <a:pt x="52384" y="666782"/>
                </a:lnTo>
                <a:lnTo>
                  <a:pt x="35929" y="636408"/>
                </a:lnTo>
                <a:cubicBezTo>
                  <a:pt x="12794" y="581602"/>
                  <a:pt x="0" y="521346"/>
                  <a:pt x="0" y="458096"/>
                </a:cubicBezTo>
                <a:cubicBezTo>
                  <a:pt x="0" y="394846"/>
                  <a:pt x="12794" y="334591"/>
                  <a:pt x="35929" y="279785"/>
                </a:cubicBezTo>
                <a:close/>
                <a:moveTo>
                  <a:pt x="487916" y="194477"/>
                </a:moveTo>
                <a:lnTo>
                  <a:pt x="515467" y="224175"/>
                </a:lnTo>
                <a:cubicBezTo>
                  <a:pt x="549896" y="260829"/>
                  <a:pt x="584536" y="296618"/>
                  <a:pt x="619347" y="331872"/>
                </a:cubicBezTo>
                <a:lnTo>
                  <a:pt x="659831" y="372196"/>
                </a:lnTo>
                <a:lnTo>
                  <a:pt x="656558" y="378219"/>
                </a:lnTo>
                <a:cubicBezTo>
                  <a:pt x="647431" y="397001"/>
                  <a:pt x="642247" y="418524"/>
                  <a:pt x="642247" y="441401"/>
                </a:cubicBezTo>
                <a:cubicBezTo>
                  <a:pt x="642247" y="514608"/>
                  <a:pt x="695333" y="573952"/>
                  <a:pt x="760818" y="573952"/>
                </a:cubicBezTo>
                <a:cubicBezTo>
                  <a:pt x="785375" y="573952"/>
                  <a:pt x="808188" y="565607"/>
                  <a:pt x="827112" y="551315"/>
                </a:cubicBezTo>
                <a:lnTo>
                  <a:pt x="835079" y="544655"/>
                </a:lnTo>
                <a:lnTo>
                  <a:pt x="890183" y="598612"/>
                </a:lnTo>
                <a:lnTo>
                  <a:pt x="878473" y="636408"/>
                </a:lnTo>
                <a:cubicBezTo>
                  <a:pt x="866905" y="663810"/>
                  <a:pt x="852752" y="689851"/>
                  <a:pt x="836319" y="714222"/>
                </a:cubicBezTo>
                <a:lnTo>
                  <a:pt x="826204" y="726506"/>
                </a:lnTo>
                <a:lnTo>
                  <a:pt x="733097" y="716211"/>
                </a:lnTo>
                <a:cubicBezTo>
                  <a:pt x="691833" y="708867"/>
                  <a:pt x="652012" y="698893"/>
                  <a:pt x="613764" y="686278"/>
                </a:cubicBezTo>
                <a:lnTo>
                  <a:pt x="604847" y="683124"/>
                </a:lnTo>
                <a:lnTo>
                  <a:pt x="602390" y="672439"/>
                </a:lnTo>
                <a:cubicBezTo>
                  <a:pt x="588416" y="622214"/>
                  <a:pt x="546510" y="585748"/>
                  <a:pt x="496985" y="585748"/>
                </a:cubicBezTo>
                <a:cubicBezTo>
                  <a:pt x="477937" y="585748"/>
                  <a:pt x="460016" y="591143"/>
                  <a:pt x="444378" y="600640"/>
                </a:cubicBezTo>
                <a:lnTo>
                  <a:pt x="440149" y="603512"/>
                </a:lnTo>
                <a:lnTo>
                  <a:pt x="431572" y="598066"/>
                </a:lnTo>
                <a:cubicBezTo>
                  <a:pt x="394454" y="573266"/>
                  <a:pt x="359678" y="544992"/>
                  <a:pt x="327436" y="513229"/>
                </a:cubicBezTo>
                <a:lnTo>
                  <a:pt x="323610" y="509277"/>
                </a:lnTo>
                <a:lnTo>
                  <a:pt x="326720" y="503553"/>
                </a:lnTo>
                <a:cubicBezTo>
                  <a:pt x="339341" y="477581"/>
                  <a:pt x="346510" y="447818"/>
                  <a:pt x="346510" y="416182"/>
                </a:cubicBezTo>
                <a:cubicBezTo>
                  <a:pt x="346510" y="384548"/>
                  <a:pt x="339341" y="354784"/>
                  <a:pt x="326720" y="328812"/>
                </a:cubicBezTo>
                <a:lnTo>
                  <a:pt x="324187" y="324151"/>
                </a:lnTo>
                <a:lnTo>
                  <a:pt x="335299" y="312285"/>
                </a:lnTo>
                <a:cubicBezTo>
                  <a:pt x="377811" y="269720"/>
                  <a:pt x="424251" y="233924"/>
                  <a:pt x="471316" y="204389"/>
                </a:cubicBezTo>
                <a:close/>
                <a:moveTo>
                  <a:pt x="737224" y="98405"/>
                </a:moveTo>
                <a:lnTo>
                  <a:pt x="780491" y="134174"/>
                </a:lnTo>
                <a:cubicBezTo>
                  <a:pt x="863228" y="217073"/>
                  <a:pt x="914402" y="331597"/>
                  <a:pt x="914402" y="458096"/>
                </a:cubicBezTo>
                <a:lnTo>
                  <a:pt x="910497" y="496909"/>
                </a:lnTo>
                <a:lnTo>
                  <a:pt x="879177" y="471323"/>
                </a:lnTo>
                <a:lnTo>
                  <a:pt x="876724" y="469226"/>
                </a:lnTo>
                <a:lnTo>
                  <a:pt x="876980" y="468115"/>
                </a:lnTo>
                <a:cubicBezTo>
                  <a:pt x="878559" y="459486"/>
                  <a:pt x="879389" y="450551"/>
                  <a:pt x="879389" y="441401"/>
                </a:cubicBezTo>
                <a:cubicBezTo>
                  <a:pt x="879389" y="368195"/>
                  <a:pt x="826303" y="308850"/>
                  <a:pt x="760818" y="308850"/>
                </a:cubicBezTo>
                <a:cubicBezTo>
                  <a:pt x="744447" y="308850"/>
                  <a:pt x="728851" y="312559"/>
                  <a:pt x="714665" y="319266"/>
                </a:cubicBezTo>
                <a:lnTo>
                  <a:pt x="712882" y="320226"/>
                </a:lnTo>
                <a:lnTo>
                  <a:pt x="710889" y="318300"/>
                </a:lnTo>
                <a:cubicBezTo>
                  <a:pt x="684278" y="292122"/>
                  <a:pt x="658238" y="265574"/>
                  <a:pt x="632541" y="238604"/>
                </a:cubicBezTo>
                <a:lnTo>
                  <a:pt x="557237" y="157439"/>
                </a:lnTo>
                <a:lnTo>
                  <a:pt x="565298" y="153516"/>
                </a:lnTo>
                <a:cubicBezTo>
                  <a:pt x="611403" y="132252"/>
                  <a:pt x="655952" y="116827"/>
                  <a:pt x="695707" y="106746"/>
                </a:cubicBezTo>
                <a:close/>
                <a:moveTo>
                  <a:pt x="334330" y="18865"/>
                </a:moveTo>
                <a:lnTo>
                  <a:pt x="392503" y="87910"/>
                </a:lnTo>
                <a:lnTo>
                  <a:pt x="411939" y="110067"/>
                </a:lnTo>
                <a:lnTo>
                  <a:pt x="393920" y="122200"/>
                </a:lnTo>
                <a:cubicBezTo>
                  <a:pt x="345654" y="156729"/>
                  <a:pt x="303992" y="194541"/>
                  <a:pt x="268021" y="233925"/>
                </a:cubicBezTo>
                <a:lnTo>
                  <a:pt x="253100" y="250915"/>
                </a:lnTo>
                <a:lnTo>
                  <a:pt x="246367" y="247289"/>
                </a:lnTo>
                <a:cubicBezTo>
                  <a:pt x="226751" y="238014"/>
                  <a:pt x="205184" y="232885"/>
                  <a:pt x="182545" y="232885"/>
                </a:cubicBezTo>
                <a:cubicBezTo>
                  <a:pt x="171226" y="232885"/>
                  <a:pt x="160175" y="234167"/>
                  <a:pt x="149501" y="236609"/>
                </a:cubicBezTo>
                <a:lnTo>
                  <a:pt x="147176" y="237277"/>
                </a:lnTo>
                <a:lnTo>
                  <a:pt x="136136" y="209315"/>
                </a:lnTo>
                <a:lnTo>
                  <a:pt x="117804" y="153735"/>
                </a:lnTo>
                <a:lnTo>
                  <a:pt x="133911" y="134174"/>
                </a:lnTo>
                <a:cubicBezTo>
                  <a:pt x="175280" y="92724"/>
                  <a:pt x="224539" y="59181"/>
                  <a:pt x="279238" y="36000"/>
                </a:cubicBezTo>
                <a:close/>
                <a:moveTo>
                  <a:pt x="457201" y="0"/>
                </a:moveTo>
                <a:cubicBezTo>
                  <a:pt x="488764" y="0"/>
                  <a:pt x="519580" y="3205"/>
                  <a:pt x="549343" y="9307"/>
                </a:cubicBezTo>
                <a:lnTo>
                  <a:pt x="589460" y="21784"/>
                </a:lnTo>
                <a:lnTo>
                  <a:pt x="517229" y="49233"/>
                </a:lnTo>
                <a:lnTo>
                  <a:pt x="478806" y="69160"/>
                </a:lnTo>
                <a:lnTo>
                  <a:pt x="422099" y="3546"/>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306" name="Group 305"/>
          <p:cNvGrpSpPr/>
          <p:nvPr/>
        </p:nvGrpSpPr>
        <p:grpSpPr>
          <a:xfrm>
            <a:off x="1294356" y="6605840"/>
            <a:ext cx="178194" cy="122133"/>
            <a:chOff x="1136394" y="4818042"/>
            <a:chExt cx="181767" cy="124582"/>
          </a:xfrm>
        </p:grpSpPr>
        <p:cxnSp>
          <p:nvCxnSpPr>
            <p:cNvPr id="304" name="Straight Arrow Connector 303"/>
            <p:cNvCxnSpPr/>
            <p:nvPr/>
          </p:nvCxnSpPr>
          <p:spPr>
            <a:xfrm>
              <a:off x="1136394" y="4942624"/>
              <a:ext cx="18176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136394" y="4818042"/>
              <a:ext cx="181767" cy="0"/>
            </a:xfrm>
            <a:prstGeom prst="straightConnector1">
              <a:avLst/>
            </a:prstGeom>
            <a:ln>
              <a:solidFill>
                <a:srgbClr val="0070C5"/>
              </a:solidFill>
              <a:tailEnd type="triangle"/>
            </a:ln>
          </p:spPr>
          <p:style>
            <a:lnRef idx="1">
              <a:schemeClr val="accent1"/>
            </a:lnRef>
            <a:fillRef idx="0">
              <a:schemeClr val="accent1"/>
            </a:fillRef>
            <a:effectRef idx="0">
              <a:schemeClr val="accent1"/>
            </a:effectRef>
            <a:fontRef idx="minor">
              <a:schemeClr val="tx1"/>
            </a:fontRef>
          </p:style>
        </p:cxnSp>
      </p:grpSp>
      <p:pic>
        <p:nvPicPr>
          <p:cNvPr id="142" name="Picture 8" descr="https://tse1.mm.bing.net/th?id=JN.h2uVUL%2fhqs4Sd7nLaoAxdg&amp;pid=15.1"/>
          <p:cNvPicPr>
            <a:picLocks noChangeAspect="1" noChangeArrowheads="1"/>
          </p:cNvPicPr>
          <p:nvPr/>
        </p:nvPicPr>
        <p:blipFill>
          <a:blip r:embed="rId6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0393" y="2716803"/>
            <a:ext cx="294484" cy="403601"/>
          </a:xfrm>
          <a:prstGeom prst="rect">
            <a:avLst/>
          </a:prstGeom>
          <a:noFill/>
          <a:extLst>
            <a:ext uri="{909E8E84-426E-40DD-AFC4-6F175D3DCCD1}">
              <a14:hiddenFill xmlns:a14="http://schemas.microsoft.com/office/drawing/2010/main">
                <a:solidFill>
                  <a:srgbClr val="FFFFFF"/>
                </a:solidFill>
              </a14:hiddenFill>
            </a:ext>
          </a:extLst>
        </p:spPr>
      </p:pic>
      <p:pic>
        <p:nvPicPr>
          <p:cNvPr id="178214" name="Picture 38" descr="Apache Hive"/>
          <p:cNvPicPr>
            <a:picLocks noChangeAspect="1" noChangeArrowheads="1"/>
          </p:cNvPicPr>
          <p:nvPr/>
        </p:nvPicPr>
        <p:blipFill>
          <a:blip r:embed="rId6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72689" y="3178916"/>
            <a:ext cx="231912" cy="292750"/>
          </a:xfrm>
          <a:prstGeom prst="rect">
            <a:avLst/>
          </a:prstGeom>
          <a:noFill/>
          <a:extLst>
            <a:ext uri="{909E8E84-426E-40DD-AFC4-6F175D3DCCD1}">
              <a14:hiddenFill xmlns:a14="http://schemas.microsoft.com/office/drawing/2010/main">
                <a:solidFill>
                  <a:srgbClr val="FFFFFF"/>
                </a:solidFill>
              </a14:hiddenFill>
            </a:ext>
          </a:extLst>
        </p:spPr>
      </p:pic>
      <p:pic>
        <p:nvPicPr>
          <p:cNvPr id="178216" name="Picture 40" descr="http://hortonworks.com/wp-content/uploads/2013/10/pig.gif"/>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7018282" y="2765883"/>
            <a:ext cx="168548" cy="347370"/>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Arrow Connector 54"/>
          <p:cNvCxnSpPr>
            <a:cxnSpLocks/>
          </p:cNvCxnSpPr>
          <p:nvPr/>
        </p:nvCxnSpPr>
        <p:spPr>
          <a:xfrm rot="5400000" flipH="1" flipV="1">
            <a:off x="5748319" y="4210387"/>
            <a:ext cx="391765" cy="454"/>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a:xfrm>
            <a:off x="8448430" y="1592250"/>
            <a:ext cx="2724395" cy="501359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lumMod val="50000"/>
                  </a:schemeClr>
                </a:solidFill>
                <a:effectLst/>
                <a:uLnTx/>
                <a:uFillTx/>
                <a:latin typeface="Segoe UI Semibold" panose="020B0702040204020203" pitchFamily="34" charset="0"/>
                <a:cs typeface="Segoe UI Semibold" panose="020B0702040204020203" pitchFamily="34" charset="0"/>
              </a:rPr>
              <a:t>Serving Layer</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97" name="Straight Arrow Connector 54"/>
          <p:cNvCxnSpPr>
            <a:cxnSpLocks/>
            <a:stCxn id="227" idx="2"/>
            <a:endCxn id="175" idx="0"/>
          </p:cNvCxnSpPr>
          <p:nvPr/>
        </p:nvCxnSpPr>
        <p:spPr>
          <a:xfrm rot="16200000" flipH="1">
            <a:off x="4516580" y="3403866"/>
            <a:ext cx="943622" cy="1079221"/>
          </a:xfrm>
          <a:prstGeom prst="bentConnector3">
            <a:avLst>
              <a:gd name="adj1" fmla="val 50000"/>
            </a:avLst>
          </a:prstGeom>
          <a:ln>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7" name="Freeform 177"/>
          <p:cNvSpPr/>
          <p:nvPr/>
        </p:nvSpPr>
        <p:spPr>
          <a:xfrm>
            <a:off x="4053791" y="2219269"/>
            <a:ext cx="168039" cy="230689"/>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lumMod val="20000"/>
                  <a:lumOff val="80000"/>
                </a:srgbClr>
              </a:solidFill>
              <a:effectLst/>
              <a:uLnTx/>
              <a:uFillTx/>
              <a:latin typeface="Segoe UI"/>
              <a:ea typeface="+mn-ea"/>
              <a:cs typeface="+mn-cs"/>
            </a:endParaRPr>
          </a:p>
        </p:txBody>
      </p:sp>
      <p:pic>
        <p:nvPicPr>
          <p:cNvPr id="159"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5222044" y="2277157"/>
            <a:ext cx="196862" cy="256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9" name="Rectangle 238"/>
          <p:cNvSpPr/>
          <p:nvPr>
            <p:custDataLst>
              <p:tags r:id="rId42"/>
            </p:custDataLst>
          </p:nvPr>
        </p:nvSpPr>
        <p:spPr>
          <a:xfrm>
            <a:off x="3451027" y="2797897"/>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Blob Storage</a:t>
            </a:r>
          </a:p>
        </p:txBody>
      </p:sp>
      <p:grpSp>
        <p:nvGrpSpPr>
          <p:cNvPr id="234" name="Group 233"/>
          <p:cNvGrpSpPr/>
          <p:nvPr/>
        </p:nvGrpSpPr>
        <p:grpSpPr>
          <a:xfrm>
            <a:off x="4074936" y="3036600"/>
            <a:ext cx="254996" cy="223464"/>
            <a:chOff x="2317532" y="-4150064"/>
            <a:chExt cx="458787" cy="398463"/>
          </a:xfrm>
          <a:solidFill>
            <a:srgbClr val="FFFFFF"/>
          </a:solidFill>
        </p:grpSpPr>
        <p:sp>
          <p:nvSpPr>
            <p:cNvPr id="23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9" name="Freeform 34"/>
          <p:cNvSpPr>
            <a:spLocks noEditPoints="1"/>
          </p:cNvSpPr>
          <p:nvPr/>
        </p:nvSpPr>
        <p:spPr bwMode="auto">
          <a:xfrm>
            <a:off x="555145" y="3258955"/>
            <a:ext cx="334513" cy="25159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0" name="TextBox 299"/>
          <p:cNvSpPr txBox="1"/>
          <p:nvPr/>
        </p:nvSpPr>
        <p:spPr>
          <a:xfrm>
            <a:off x="315752" y="3553547"/>
            <a:ext cx="712769" cy="400414"/>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Business </a:t>
            </a:r>
          </a:p>
        </p:txBody>
      </p:sp>
      <p:sp>
        <p:nvSpPr>
          <p:cNvPr id="302" name="TextBox 301"/>
          <p:cNvSpPr txBox="1"/>
          <p:nvPr/>
        </p:nvSpPr>
        <p:spPr>
          <a:xfrm>
            <a:off x="793653" y="3555014"/>
            <a:ext cx="678898" cy="412726"/>
          </a:xfrm>
          <a:prstGeom prst="rect">
            <a:avLst/>
          </a:prstGeom>
          <a:noFill/>
        </p:spPr>
        <p:txBody>
          <a:bodyPr wrap="square" lIns="179259" tIns="143407" rIns="179259" bIns="143407" rtlCol="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Custom</a:t>
            </a:r>
          </a:p>
        </p:txBody>
      </p:sp>
      <p:sp>
        <p:nvSpPr>
          <p:cNvPr id="303" name="Freeform 53"/>
          <p:cNvSpPr>
            <a:spLocks noEditPoints="1"/>
          </p:cNvSpPr>
          <p:nvPr/>
        </p:nvSpPr>
        <p:spPr bwMode="auto">
          <a:xfrm>
            <a:off x="1016011" y="3264338"/>
            <a:ext cx="258502" cy="341218"/>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8" name="Rectangle 307"/>
          <p:cNvSpPr/>
          <p:nvPr>
            <p:custDataLst>
              <p:tags r:id="rId43"/>
            </p:custDataLst>
          </p:nvPr>
        </p:nvSpPr>
        <p:spPr>
          <a:xfrm>
            <a:off x="1749670" y="3536978"/>
            <a:ext cx="80143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rPr>
              <a:t>HDInsight </a:t>
            </a:r>
            <a:r>
              <a:rPr kumimoji="0" lang="en-US" sz="1100" b="0" i="0" u="none" strike="noStrike" kern="0" cap="none" spc="0" normalizeH="0" baseline="0" noProof="0" err="1">
                <a:ln>
                  <a:noFill/>
                </a:ln>
                <a:solidFill>
                  <a:schemeClr val="bg1"/>
                </a:solidFill>
                <a:effectLst/>
                <a:uLnTx/>
                <a:uFillTx/>
              </a:rPr>
              <a:t>Sqoop</a:t>
            </a:r>
            <a:endParaRPr kumimoji="0" lang="en-US" sz="1100" b="0" i="0" u="none" strike="noStrike" kern="0" cap="none" spc="0" normalizeH="0" baseline="0" noProof="0">
              <a:ln>
                <a:noFill/>
              </a:ln>
              <a:solidFill>
                <a:schemeClr val="bg1"/>
              </a:solidFill>
              <a:effectLst/>
              <a:uLnTx/>
              <a:uFillTx/>
            </a:endParaRPr>
          </a:p>
        </p:txBody>
      </p:sp>
      <p:pic>
        <p:nvPicPr>
          <p:cNvPr id="1033" name="Picture 9" descr="Image result for sqoop"/>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1830740" y="3946720"/>
            <a:ext cx="626354" cy="185121"/>
          </a:xfrm>
          <a:prstGeom prst="rect">
            <a:avLst/>
          </a:prstGeom>
          <a:noFill/>
          <a:extLst>
            <a:ext uri="{909E8E84-426E-40DD-AFC4-6F175D3DCCD1}">
              <a14:hiddenFill xmlns:a14="http://schemas.microsoft.com/office/drawing/2010/main">
                <a:solidFill>
                  <a:srgbClr val="FFFFFF"/>
                </a:solidFill>
              </a14:hiddenFill>
            </a:ext>
          </a:extLst>
        </p:spPr>
      </p:pic>
      <p:sp>
        <p:nvSpPr>
          <p:cNvPr id="309" name="Rectangle 308"/>
          <p:cNvSpPr/>
          <p:nvPr>
            <p:custDataLst>
              <p:tags r:id="rId44"/>
            </p:custDataLst>
          </p:nvPr>
        </p:nvSpPr>
        <p:spPr>
          <a:xfrm>
            <a:off x="1757141" y="2648620"/>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Import/Export Svc</a:t>
            </a:r>
          </a:p>
        </p:txBody>
      </p:sp>
      <p:pic>
        <p:nvPicPr>
          <p:cNvPr id="1035" name="Picture 11" descr="Image result for azure import export"/>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2071446" y="3214994"/>
            <a:ext cx="463766" cy="231883"/>
          </a:xfrm>
          <a:prstGeom prst="rect">
            <a:avLst/>
          </a:prstGeom>
          <a:noFill/>
          <a:extLst>
            <a:ext uri="{909E8E84-426E-40DD-AFC4-6F175D3DCCD1}">
              <a14:hiddenFill xmlns:a14="http://schemas.microsoft.com/office/drawing/2010/main">
                <a:solidFill>
                  <a:srgbClr val="FFFFFF"/>
                </a:solidFill>
              </a14:hiddenFill>
            </a:ext>
          </a:extLst>
        </p:spPr>
      </p:pic>
      <p:sp>
        <p:nvSpPr>
          <p:cNvPr id="133" name="Arrow: Right 132"/>
          <p:cNvSpPr/>
          <p:nvPr/>
        </p:nvSpPr>
        <p:spPr bwMode="auto">
          <a:xfrm>
            <a:off x="1529245" y="2516716"/>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2" name="Arrow: Right 321"/>
          <p:cNvSpPr/>
          <p:nvPr/>
        </p:nvSpPr>
        <p:spPr bwMode="auto">
          <a:xfrm>
            <a:off x="1510482" y="3442487"/>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3" name="Arrow: Right 322"/>
          <p:cNvSpPr/>
          <p:nvPr/>
        </p:nvSpPr>
        <p:spPr bwMode="auto">
          <a:xfrm>
            <a:off x="1505120" y="5351085"/>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9" name="Rectangle 328"/>
          <p:cNvSpPr/>
          <p:nvPr/>
        </p:nvSpPr>
        <p:spPr>
          <a:xfrm>
            <a:off x="6793299" y="4885899"/>
            <a:ext cx="1116096" cy="1559020"/>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330" name="Rectangle 329"/>
          <p:cNvSpPr/>
          <p:nvPr>
            <p:custDataLst>
              <p:tags r:id="rId45"/>
            </p:custDataLst>
          </p:nvPr>
        </p:nvSpPr>
        <p:spPr>
          <a:xfrm>
            <a:off x="6874531" y="4966749"/>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QL</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B</a:t>
            </a:r>
          </a:p>
        </p:txBody>
      </p:sp>
      <p:sp>
        <p:nvSpPr>
          <p:cNvPr id="331" name="Rectangle 330"/>
          <p:cNvSpPr/>
          <p:nvPr>
            <p:custDataLst>
              <p:tags r:id="rId46"/>
            </p:custDataLst>
          </p:nvPr>
        </p:nvSpPr>
        <p:spPr>
          <a:xfrm>
            <a:off x="6874531" y="544416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Cosmos</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DB</a:t>
            </a:r>
          </a:p>
        </p:txBody>
      </p:sp>
      <p:sp>
        <p:nvSpPr>
          <p:cNvPr id="332" name="Rectangle 331"/>
          <p:cNvSpPr/>
          <p:nvPr>
            <p:custDataLst>
              <p:tags r:id="rId47"/>
            </p:custDataLst>
          </p:nvPr>
        </p:nvSpPr>
        <p:spPr>
          <a:xfrm>
            <a:off x="6874531" y="593942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err="1">
                <a:ln>
                  <a:noFill/>
                </a:ln>
                <a:solidFill>
                  <a:prstClr val="white"/>
                </a:solidFill>
                <a:effectLst/>
                <a:uLnTx/>
                <a:uFillTx/>
                <a:ea typeface="Segoe UI" pitchFamily="34" charset="0"/>
                <a:cs typeface="Segoe UI" pitchFamily="34" charset="0"/>
              </a:rPr>
              <a:t>Redis</a:t>
            </a: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 Cache</a:t>
            </a:r>
          </a:p>
        </p:txBody>
      </p:sp>
      <p:sp>
        <p:nvSpPr>
          <p:cNvPr id="334" name="Freeform 190"/>
          <p:cNvSpPr>
            <a:spLocks noEditPoints="1"/>
          </p:cNvSpPr>
          <p:nvPr/>
        </p:nvSpPr>
        <p:spPr bwMode="auto">
          <a:xfrm>
            <a:off x="7567623" y="5591938"/>
            <a:ext cx="216781" cy="23862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pic>
        <p:nvPicPr>
          <p:cNvPr id="335"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7575431" y="5128577"/>
            <a:ext cx="187773" cy="2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 name="AutoShape 31" descr="Image result for azure redis cache"/>
          <p:cNvSpPr>
            <a:spLocks noChangeAspect="1" noChangeArrowheads="1"/>
          </p:cNvSpPr>
          <p:nvPr/>
        </p:nvSpPr>
        <p:spPr bwMode="auto">
          <a:xfrm>
            <a:off x="6348422"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AutoShape 35" descr="Image result for azure redis cache"/>
          <p:cNvSpPr>
            <a:spLocks noChangeAspect="1" noChangeArrowheads="1"/>
          </p:cNvSpPr>
          <p:nvPr/>
        </p:nvSpPr>
        <p:spPr bwMode="auto">
          <a:xfrm>
            <a:off x="6500822"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AutoShape 38" descr="Image result for azure redis cache"/>
          <p:cNvSpPr>
            <a:spLocks noChangeAspect="1" noChangeArrowheads="1"/>
          </p:cNvSpPr>
          <p:nvPr/>
        </p:nvSpPr>
        <p:spPr bwMode="auto">
          <a:xfrm>
            <a:off x="6653222"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Rectangle 374"/>
          <p:cNvSpPr/>
          <p:nvPr>
            <p:custDataLst>
              <p:tags r:id="rId48"/>
            </p:custDataLst>
          </p:nvPr>
        </p:nvSpPr>
        <p:spPr>
          <a:xfrm>
            <a:off x="6561602" y="1901307"/>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ata Science VM</a:t>
            </a:r>
          </a:p>
        </p:txBody>
      </p:sp>
      <p:sp>
        <p:nvSpPr>
          <p:cNvPr id="376" name="TextBox 375"/>
          <p:cNvSpPr txBox="1"/>
          <p:nvPr/>
        </p:nvSpPr>
        <p:spPr>
          <a:xfrm>
            <a:off x="6903859" y="2177335"/>
            <a:ext cx="343300"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solidFill>
                  <a:schemeClr val="bg1"/>
                </a:solidFill>
                <a:effectLst/>
                <a:uLnTx/>
                <a:uFillTx/>
              </a:rPr>
              <a:t>R</a:t>
            </a:r>
          </a:p>
        </p:txBody>
      </p:sp>
      <p:sp>
        <p:nvSpPr>
          <p:cNvPr id="380" name="Arrow: Right 379"/>
          <p:cNvSpPr/>
          <p:nvPr/>
        </p:nvSpPr>
        <p:spPr bwMode="auto">
          <a:xfrm>
            <a:off x="8094826" y="2740176"/>
            <a:ext cx="261439" cy="272094"/>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5" name="Arrow: Right 384"/>
          <p:cNvSpPr/>
          <p:nvPr/>
        </p:nvSpPr>
        <p:spPr bwMode="auto">
          <a:xfrm>
            <a:off x="6439525" y="5480125"/>
            <a:ext cx="235387"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6" name="Arrow: Right 385"/>
          <p:cNvSpPr/>
          <p:nvPr/>
        </p:nvSpPr>
        <p:spPr bwMode="auto">
          <a:xfrm>
            <a:off x="2640025" y="29976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7" name="Arrow: Right 386"/>
          <p:cNvSpPr/>
          <p:nvPr/>
        </p:nvSpPr>
        <p:spPr bwMode="auto">
          <a:xfrm>
            <a:off x="5571751" y="3175978"/>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8" name="Arrow: Right 387"/>
          <p:cNvSpPr/>
          <p:nvPr/>
        </p:nvSpPr>
        <p:spPr bwMode="auto">
          <a:xfrm>
            <a:off x="5581615" y="22119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4" name="Arrow: Right 383"/>
          <p:cNvSpPr/>
          <p:nvPr/>
        </p:nvSpPr>
        <p:spPr bwMode="auto">
          <a:xfrm>
            <a:off x="7919722" y="5443617"/>
            <a:ext cx="436543"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Arrow: Right 380"/>
          <p:cNvSpPr/>
          <p:nvPr/>
        </p:nvSpPr>
        <p:spPr bwMode="auto">
          <a:xfrm>
            <a:off x="6407478" y="4546849"/>
            <a:ext cx="1979244" cy="28564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0" name="Arrow: Right 389"/>
          <p:cNvSpPr/>
          <p:nvPr/>
        </p:nvSpPr>
        <p:spPr bwMode="auto">
          <a:xfrm>
            <a:off x="2649502" y="5370418"/>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Rectangle 145"/>
          <p:cNvSpPr/>
          <p:nvPr>
            <p:custDataLst>
              <p:tags r:id="rId49"/>
            </p:custDataLst>
          </p:nvPr>
        </p:nvSpPr>
        <p:spPr>
          <a:xfrm>
            <a:off x="1710066" y="5492298"/>
            <a:ext cx="87051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lang="en-US" sz="1100" kern="0">
              <a:solidFill>
                <a:schemeClr val="bg1"/>
              </a:solidFill>
            </a:endParaRPr>
          </a:p>
          <a:p>
            <a:pPr marL="0" marR="0" lvl="0" indent="0" defTabSz="896386" eaLnBrk="1" fontAlgn="auto" latinLnBrk="0" hangingPunct="1">
              <a:lnSpc>
                <a:spcPct val="100000"/>
              </a:lnSpc>
              <a:spcBef>
                <a:spcPts val="0"/>
              </a:spcBef>
              <a:spcAft>
                <a:spcPts val="0"/>
              </a:spcAft>
              <a:buClrTx/>
              <a:buSzTx/>
              <a:buFontTx/>
              <a:buNone/>
              <a:tabLst/>
              <a:defRPr/>
            </a:pPr>
            <a:r>
              <a:rPr lang="en-US" sz="1100" kern="0">
                <a:solidFill>
                  <a:schemeClr val="bg1"/>
                </a:solidFill>
              </a:rPr>
              <a:t> Kafka</a:t>
            </a:r>
            <a:endParaRPr kumimoji="0" lang="en-US" sz="1100" b="0" i="0" u="none" strike="noStrike" kern="0" cap="none" spc="0" normalizeH="0" baseline="0" noProof="0">
              <a:ln>
                <a:noFill/>
              </a:ln>
              <a:solidFill>
                <a:schemeClr val="bg1"/>
              </a:solidFill>
              <a:effectLst/>
              <a:uLnTx/>
              <a:uFillTx/>
            </a:endParaRPr>
          </a:p>
        </p:txBody>
      </p:sp>
      <p:pic>
        <p:nvPicPr>
          <p:cNvPr id="2" name="Picture 1"/>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2283675" y="5749422"/>
            <a:ext cx="183434" cy="286158"/>
          </a:xfrm>
          <a:prstGeom prst="rect">
            <a:avLst/>
          </a:prstGeom>
        </p:spPr>
      </p:pic>
      <p:pic>
        <p:nvPicPr>
          <p:cNvPr id="4" name="Picture 3"/>
          <p:cNvPicPr>
            <a:picLocks noChangeAspect="1"/>
          </p:cNvPicPr>
          <p:nvPr/>
        </p:nvPicPr>
        <p:blipFill>
          <a:blip r:embed="rId73"/>
          <a:stretch>
            <a:fillRect/>
          </a:stretch>
        </p:blipFill>
        <p:spPr>
          <a:xfrm>
            <a:off x="2171677" y="4908807"/>
            <a:ext cx="346608" cy="429884"/>
          </a:xfrm>
          <a:prstGeom prst="rect">
            <a:avLst/>
          </a:prstGeom>
        </p:spPr>
      </p:pic>
    </p:spTree>
    <p:extLst>
      <p:ext uri="{BB962C8B-B14F-4D97-AF65-F5344CB8AC3E}">
        <p14:creationId xmlns:p14="http://schemas.microsoft.com/office/powerpoint/2010/main" val="4126405699"/>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4.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Read-Only]" id="{FB259C66-2F39-4777-A420-537BD67CCDCE}" vid="{7473FFEA-30BF-450C-9F9D-1F5918798F0B}"/>
    </a:ext>
  </a:extLst>
</a:theme>
</file>

<file path=ppt/theme/theme5.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noAutofit/>
      </a:bodyPr>
      <a:lstStyle>
        <a:defPPr>
          <a:lnSpc>
            <a:spcPct val="90000"/>
          </a:lnSpc>
          <a:spcAft>
            <a:spcPts val="600"/>
          </a:spcAft>
          <a:defRPr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25FDD9-4C58-4084-9F89-0E6ADD6FFF55}">
  <ds:schemaRefs>
    <ds:schemaRef ds:uri="http://purl.org/dc/terms/"/>
    <ds:schemaRef ds:uri="http://schemas.microsoft.com/office/infopath/2007/PartnerControl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636b0322-90fb-440c-9cbc-22749e7231e9"/>
    <ds:schemaRef ds:uri="http://www.w3.org/XML/1998/namespace"/>
    <ds:schemaRef ds:uri="http://purl.org/dc/elements/1.1/"/>
  </ds:schemaRefs>
</ds:datastoreItem>
</file>

<file path=customXml/itemProps2.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CA13EC-1D3C-4D6F-8D1C-E8A452CFC7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8</TotalTime>
  <Words>7056</Words>
  <Application>Microsoft Office PowerPoint</Application>
  <PresentationFormat>Widescreen</PresentationFormat>
  <Paragraphs>1020</Paragraphs>
  <Slides>53</Slides>
  <Notes>37</Notes>
  <HiddenSlides>0</HiddenSlides>
  <MMClips>0</MMClips>
  <ScaleCrop>false</ScaleCrop>
  <HeadingPairs>
    <vt:vector size="8" baseType="variant">
      <vt:variant>
        <vt:lpstr>Fonts Used</vt:lpstr>
      </vt:variant>
      <vt:variant>
        <vt:i4>19</vt:i4>
      </vt:variant>
      <vt:variant>
        <vt:lpstr>Theme</vt:lpstr>
      </vt:variant>
      <vt:variant>
        <vt:i4>5</vt:i4>
      </vt:variant>
      <vt:variant>
        <vt:lpstr>Embedded OLE Servers</vt:lpstr>
      </vt:variant>
      <vt:variant>
        <vt:i4>1</vt:i4>
      </vt:variant>
      <vt:variant>
        <vt:lpstr>Slide Titles</vt:lpstr>
      </vt:variant>
      <vt:variant>
        <vt:i4>53</vt:i4>
      </vt:variant>
    </vt:vector>
  </HeadingPairs>
  <TitlesOfParts>
    <vt:vector size="78" baseType="lpstr">
      <vt:lpstr>ＭＳ Ｐゴシック</vt:lpstr>
      <vt:lpstr>ＭＳ Ｐゴシック</vt:lpstr>
      <vt:lpstr>Arial</vt:lpstr>
      <vt:lpstr>Bradley Hand ITC</vt:lpstr>
      <vt:lpstr>Calibri</vt:lpstr>
      <vt:lpstr>Consolas</vt:lpstr>
      <vt:lpstr>Helvetica</vt:lpstr>
      <vt:lpstr>Menlo-Bold</vt:lpstr>
      <vt:lpstr>Menlo-Regular</vt:lpstr>
      <vt:lpstr>Montserrat</vt:lpstr>
      <vt:lpstr>Segoe</vt:lpstr>
      <vt:lpstr>Segoe Pro Light</vt:lpstr>
      <vt:lpstr>Segoe Semibold</vt:lpstr>
      <vt:lpstr>Segoe UI</vt:lpstr>
      <vt:lpstr>Segoe UI Light</vt:lpstr>
      <vt:lpstr>Segoe UI Semibold</vt:lpstr>
      <vt:lpstr>Segoe UI Semilight</vt:lpstr>
      <vt:lpstr>Times New Roman</vt:lpstr>
      <vt:lpstr>Wingdings</vt:lpstr>
      <vt:lpstr>1_Office Theme</vt:lpstr>
      <vt:lpstr>WHITE TEMPLATE</vt:lpstr>
      <vt:lpstr>STB Conversations 2013</vt:lpstr>
      <vt:lpstr>5-50033_TR23_TR-TV_Template</vt:lpstr>
      <vt:lpstr>Theme1</vt:lpstr>
      <vt:lpstr>think-cell Slide</vt:lpstr>
      <vt:lpstr>PowerPoint Presentation</vt:lpstr>
      <vt:lpstr>In this module</vt:lpstr>
      <vt:lpstr>In this module</vt:lpstr>
      <vt:lpstr>Big Data Lambda Architecture  Meant to be generic, fault tolerant  and outwardly scalable to support a wide range of workloads and use cases. </vt:lpstr>
      <vt:lpstr>The Batch Layer</vt:lpstr>
      <vt:lpstr>The Speed Layer</vt:lpstr>
      <vt:lpstr>The Serving Layer</vt:lpstr>
      <vt:lpstr>Microsoft Lambda Architecture Support</vt:lpstr>
      <vt:lpstr>Lambda on Azure Data Options</vt:lpstr>
      <vt:lpstr>In this module</vt:lpstr>
      <vt:lpstr>Event Hubs</vt:lpstr>
      <vt:lpstr>PowerPoint Presentation</vt:lpstr>
      <vt:lpstr>PowerPoint Presentation</vt:lpstr>
      <vt:lpstr>PowerPoint Presentation</vt:lpstr>
      <vt:lpstr>Partitions </vt:lpstr>
      <vt:lpstr>PowerPoint Presentation</vt:lpstr>
      <vt:lpstr>Event Hub Policies</vt:lpstr>
      <vt:lpstr>How to Interact with Event Hubs</vt:lpstr>
      <vt:lpstr>Event Hub Code</vt:lpstr>
      <vt:lpstr>Service Bus Explorer</vt:lpstr>
      <vt:lpstr>Apache Kafka</vt:lpstr>
      <vt:lpstr>Topics and Logs</vt:lpstr>
      <vt:lpstr>Distribution, Producers &amp; Consumers</vt:lpstr>
      <vt:lpstr>More information on Kafka </vt:lpstr>
      <vt:lpstr>In this module</vt:lpstr>
      <vt:lpstr>PowerPoint Presentation</vt:lpstr>
      <vt:lpstr>PowerPoint Presentation</vt:lpstr>
      <vt:lpstr>PowerPoint Presentation</vt:lpstr>
      <vt:lpstr>PowerPoint Presentation</vt:lpstr>
      <vt:lpstr>PowerPoint Presentation</vt:lpstr>
      <vt:lpstr>In this module</vt:lpstr>
      <vt:lpstr>Stream Analytics</vt:lpstr>
      <vt:lpstr>Anatomy</vt:lpstr>
      <vt:lpstr>Stream Analytics Sample Query</vt:lpstr>
      <vt:lpstr>Lowering the bar for developer skills</vt:lpstr>
      <vt:lpstr>PowerPoint Presentation</vt:lpstr>
      <vt:lpstr>Seamless integration for rapid solution development</vt:lpstr>
      <vt:lpstr>Streaming Units</vt:lpstr>
      <vt:lpstr>Events and Time</vt:lpstr>
      <vt:lpstr>Tumbling Windows</vt:lpstr>
      <vt:lpstr>Hopping Windows</vt:lpstr>
      <vt:lpstr>Sliding Windows</vt:lpstr>
      <vt:lpstr>In this module</vt:lpstr>
      <vt:lpstr>Apache Spark</vt:lpstr>
      <vt:lpstr>Resilient Distributed Dataset (RDD)</vt:lpstr>
      <vt:lpstr>Spark Examples</vt:lpstr>
      <vt:lpstr>Spark Use Cases</vt:lpstr>
      <vt:lpstr>Reporting Tools with Spark </vt:lpstr>
      <vt:lpstr>Apache HBase: What is it?</vt:lpstr>
      <vt:lpstr>HBase: Data model</vt:lpstr>
      <vt:lpstr>HBase: Key Components</vt:lpstr>
      <vt:lpstr>HBase Key Components: Overview</vt:lpstr>
      <vt:lpstr>HBase: Object Hierarch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ck Webb</dc:creator>
  <cp:lastModifiedBy>Buck Webb</cp:lastModifiedBy>
  <cp:revision>10</cp:revision>
  <dcterms:modified xsi:type="dcterms:W3CDTF">2017-12-12T14:4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ies>
</file>